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drawings/drawing1.xml" ContentType="application/vnd.openxmlformats-officedocument.drawingml.chartshapes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1"/>
    <p:sldMasterId id="2147483670" r:id="rId2"/>
  </p:sldMasterIdLst>
  <p:notesMasterIdLst>
    <p:notesMasterId r:id="rId23"/>
  </p:notesMasterIdLst>
  <p:sldIdLst>
    <p:sldId id="256" r:id="rId3"/>
    <p:sldId id="285" r:id="rId4"/>
    <p:sldId id="257" r:id="rId5"/>
    <p:sldId id="258" r:id="rId6"/>
    <p:sldId id="276" r:id="rId7"/>
    <p:sldId id="260" r:id="rId8"/>
    <p:sldId id="262" r:id="rId9"/>
    <p:sldId id="263" r:id="rId10"/>
    <p:sldId id="261" r:id="rId11"/>
    <p:sldId id="286" r:id="rId12"/>
    <p:sldId id="277" r:id="rId13"/>
    <p:sldId id="289" r:id="rId14"/>
    <p:sldId id="287" r:id="rId15"/>
    <p:sldId id="278" r:id="rId16"/>
    <p:sldId id="279" r:id="rId17"/>
    <p:sldId id="280" r:id="rId18"/>
    <p:sldId id="269" r:id="rId19"/>
    <p:sldId id="283" r:id="rId20"/>
    <p:sldId id="288" r:id="rId21"/>
    <p:sldId id="265" r:id="rId22"/>
  </p:sldIdLst>
  <p:sldSz cx="9144000" cy="6858000" type="screen4x3"/>
  <p:notesSz cx="6858000" cy="91440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588" autoAdjust="0"/>
    <p:restoredTop sz="94624" autoAdjust="0"/>
  </p:normalViewPr>
  <p:slideViewPr>
    <p:cSldViewPr>
      <p:cViewPr varScale="1">
        <p:scale>
          <a:sx n="69" d="100"/>
          <a:sy n="69" d="100"/>
        </p:scale>
        <p:origin x="-141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2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Korir\Desktop\MA's\Presentations\Presentation-BOT\Presentation%20Worksheets%2024.05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en-US"/>
            </a:pPr>
            <a:r>
              <a:rPr lang="en-US"/>
              <a:t>Bandwidth Distributed vs Price</a:t>
            </a:r>
          </a:p>
        </c:rich>
      </c:tx>
      <c:layout/>
    </c:title>
    <c:plotArea>
      <c:layout/>
      <c:lineChart>
        <c:grouping val="standard"/>
        <c:ser>
          <c:idx val="0"/>
          <c:order val="0"/>
          <c:tx>
            <c:strRef>
              <c:f>'Bw vs price'!$B$5</c:f>
              <c:strCache>
                <c:ptCount val="1"/>
                <c:pt idx="0">
                  <c:v>Bandwidth units distributed(Mbps)</c:v>
                </c:pt>
              </c:strCache>
            </c:strRef>
          </c:tx>
          <c:marker>
            <c:symbol val="none"/>
          </c:marker>
          <c:dLbls>
            <c:txPr>
              <a:bodyPr/>
              <a:lstStyle/>
              <a:p>
                <a:pPr>
                  <a:defRPr lang="en-US" sz="1400" b="1"/>
                </a:pPr>
                <a:endParaRPr lang="en-US"/>
              </a:p>
            </c:txPr>
            <c:showVal val="1"/>
          </c:dLbls>
          <c:cat>
            <c:strRef>
              <c:f>'Bw vs price'!$C$4:$G$4</c:f>
              <c:strCache>
                <c:ptCount val="5"/>
                <c:pt idx="0">
                  <c:v>2007/08</c:v>
                </c:pt>
                <c:pt idx="1">
                  <c:v>2008/09</c:v>
                </c:pt>
                <c:pt idx="2">
                  <c:v>2009/10</c:v>
                </c:pt>
                <c:pt idx="3">
                  <c:v>2010/2011</c:v>
                </c:pt>
                <c:pt idx="4">
                  <c:v>Budgeted 2011/12</c:v>
                </c:pt>
              </c:strCache>
            </c:strRef>
          </c:cat>
          <c:val>
            <c:numRef>
              <c:f>'Bw vs price'!$C$5:$G$5</c:f>
              <c:numCache>
                <c:formatCode>General</c:formatCode>
                <c:ptCount val="5"/>
                <c:pt idx="0">
                  <c:v>25</c:v>
                </c:pt>
                <c:pt idx="1">
                  <c:v>184</c:v>
                </c:pt>
                <c:pt idx="2">
                  <c:v>600</c:v>
                </c:pt>
                <c:pt idx="3">
                  <c:v>750</c:v>
                </c:pt>
                <c:pt idx="4">
                  <c:v>1950</c:v>
                </c:pt>
              </c:numCache>
            </c:numRef>
          </c:val>
        </c:ser>
        <c:dLbls/>
        <c:hiLowLines/>
        <c:marker val="1"/>
        <c:axId val="85067648"/>
        <c:axId val="49575040"/>
      </c:lineChart>
      <c:lineChart>
        <c:grouping val="standard"/>
        <c:ser>
          <c:idx val="1"/>
          <c:order val="1"/>
          <c:tx>
            <c:strRef>
              <c:f>'Bw vs price'!$B$6</c:f>
              <c:strCache>
                <c:ptCount val="1"/>
                <c:pt idx="0">
                  <c:v>Price per unit (USD)</c:v>
                </c:pt>
              </c:strCache>
            </c:strRef>
          </c:tx>
          <c:marker>
            <c:symbol val="none"/>
          </c:marker>
          <c:dLbls>
            <c:txPr>
              <a:bodyPr/>
              <a:lstStyle/>
              <a:p>
                <a:pPr>
                  <a:defRPr lang="en-US" sz="1400" b="1"/>
                </a:pPr>
                <a:endParaRPr lang="en-US"/>
              </a:p>
            </c:txPr>
            <c:showVal val="1"/>
          </c:dLbls>
          <c:cat>
            <c:strRef>
              <c:f>'Bw vs price'!$C$4:$G$4</c:f>
              <c:strCache>
                <c:ptCount val="5"/>
                <c:pt idx="0">
                  <c:v>2007/08</c:v>
                </c:pt>
                <c:pt idx="1">
                  <c:v>2008/09</c:v>
                </c:pt>
                <c:pt idx="2">
                  <c:v>2009/10</c:v>
                </c:pt>
                <c:pt idx="3">
                  <c:v>2010/2011</c:v>
                </c:pt>
                <c:pt idx="4">
                  <c:v>Budgeted 2011/12</c:v>
                </c:pt>
              </c:strCache>
            </c:strRef>
          </c:cat>
          <c:val>
            <c:numRef>
              <c:f>'Bw vs price'!$C$6:$G$6</c:f>
              <c:numCache>
                <c:formatCode>General</c:formatCode>
                <c:ptCount val="5"/>
                <c:pt idx="0">
                  <c:v>2362</c:v>
                </c:pt>
                <c:pt idx="1">
                  <c:v>1200</c:v>
                </c:pt>
                <c:pt idx="2">
                  <c:v>400</c:v>
                </c:pt>
                <c:pt idx="3">
                  <c:v>300</c:v>
                </c:pt>
                <c:pt idx="4">
                  <c:v>200</c:v>
                </c:pt>
              </c:numCache>
            </c:numRef>
          </c:val>
        </c:ser>
        <c:dLbls/>
        <c:hiLowLines/>
        <c:marker val="1"/>
        <c:axId val="49578752"/>
        <c:axId val="49576960"/>
      </c:lineChart>
      <c:catAx>
        <c:axId val="85067648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lang="en-US" sz="1200"/>
                </a:pPr>
                <a:r>
                  <a:rPr lang="en-US" sz="1200"/>
                  <a:t>Period</a:t>
                </a:r>
              </a:p>
            </c:rich>
          </c:tx>
          <c:layout/>
        </c:title>
        <c:majorTickMark val="none"/>
        <c:tickLblPos val="nextTo"/>
        <c:txPr>
          <a:bodyPr/>
          <a:lstStyle/>
          <a:p>
            <a:pPr>
              <a:defRPr lang="en-US" sz="1400" b="1"/>
            </a:pPr>
            <a:endParaRPr lang="en-US"/>
          </a:p>
        </c:txPr>
        <c:crossAx val="49575040"/>
        <c:crosses val="autoZero"/>
        <c:auto val="1"/>
        <c:lblAlgn val="ctr"/>
        <c:lblOffset val="100"/>
      </c:catAx>
      <c:valAx>
        <c:axId val="49575040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 lang="en-US" sz="1400"/>
                </a:pPr>
                <a:r>
                  <a:rPr lang="en-US" sz="1400"/>
                  <a:t>Unit Price (USD)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lang="en-US" sz="1400"/>
            </a:pPr>
            <a:endParaRPr lang="en-US"/>
          </a:p>
        </c:txPr>
        <c:crossAx val="85067648"/>
        <c:crosses val="autoZero"/>
        <c:crossBetween val="between"/>
      </c:valAx>
      <c:valAx>
        <c:axId val="49576960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lang="en-US" sz="1400"/>
            </a:pPr>
            <a:endParaRPr lang="en-US"/>
          </a:p>
        </c:txPr>
        <c:crossAx val="49578752"/>
        <c:crosses val="max"/>
        <c:crossBetween val="between"/>
      </c:valAx>
      <c:catAx>
        <c:axId val="49578752"/>
        <c:scaling>
          <c:orientation val="minMax"/>
        </c:scaling>
        <c:delete val="1"/>
        <c:axPos val="b"/>
        <c:tickLblPos val="nextTo"/>
        <c:crossAx val="49576960"/>
        <c:crosses val="autoZero"/>
        <c:auto val="1"/>
        <c:lblAlgn val="ctr"/>
        <c:lblOffset val="100"/>
      </c:catAx>
    </c:plotArea>
    <c:legend>
      <c:legendPos val="r"/>
      <c:layout/>
      <c:txPr>
        <a:bodyPr/>
        <a:lstStyle/>
        <a:p>
          <a:pPr>
            <a:defRPr lang="en-US" sz="1400"/>
          </a:pPr>
          <a:endParaRPr lang="en-US"/>
        </a:p>
      </c:txPr>
    </c:legend>
    <c:plotVisOnly val="1"/>
    <c:dispBlanksAs val="gap"/>
  </c:chart>
  <c:externalData r:id="rId2"/>
  <c:userShapes r:id="rId3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35</cdr:x>
      <cdr:y>0.8276</cdr:y>
    </cdr:from>
    <cdr:to>
      <cdr:x>0.99216</cdr:x>
      <cdr:y>0.98622</cdr:y>
    </cdr:to>
    <cdr:pic>
      <cdr:nvPicPr>
        <cdr:cNvPr id="2" name="Picture 1"/>
        <cdr:cNvPicPr/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xmlns="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6997752" y="4290707"/>
          <a:ext cx="1643074" cy="822399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136637781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Shape 53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2" name="Shape 53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9" name="Shape 6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9" name="Shape 6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9" name="Shape 6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9" name="Shape 63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9" name="Shape 63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9" name="Shape 63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Shape 64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6" name="Shape 6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Shape 568"/>
          <p:cNvSpPr txBox="1">
            <a:spLocks noGrp="1"/>
          </p:cNvSpPr>
          <p:nvPr>
            <p:ph type="body" idx="1"/>
          </p:nvPr>
        </p:nvSpPr>
        <p:spPr>
          <a:xfrm>
            <a:off x="904875" y="4451350"/>
            <a:ext cx="5048100" cy="4141799"/>
          </a:xfrm>
          <a:prstGeom prst="rect">
            <a:avLst/>
          </a:prstGeom>
        </p:spPr>
        <p:txBody>
          <a:bodyPr lIns="91425" tIns="91425" rIns="91425" bIns="91425" anchor="ctr" anchorCtr="0">
            <a:spAutoFit/>
          </a:bodyPr>
          <a:lstStyle/>
          <a:p>
            <a:endParaRPr dirty="0"/>
          </a:p>
        </p:txBody>
      </p:sp>
      <p:sp>
        <p:nvSpPr>
          <p:cNvPr id="569" name="Shape 569"/>
          <p:cNvSpPr>
            <a:spLocks noGrp="1" noRot="1" noChangeAspect="1"/>
          </p:cNvSpPr>
          <p:nvPr>
            <p:ph type="sldImg" idx="2"/>
          </p:nvPr>
        </p:nvSpPr>
        <p:spPr>
          <a:xfrm>
            <a:off x="1077913" y="690563"/>
            <a:ext cx="4703762" cy="35274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Shape 57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9" name="Shape 57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Shape 59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9" name="Shape 59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Shape 59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9" name="Shape 59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" name="Shape 61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9" name="Shape 61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9" name="Shape 6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Shape 6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9" name="Shape 6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9" name="Shape 6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2895600" y="2209800"/>
            <a:ext cx="5586300" cy="1171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ubTitle" idx="1"/>
          </p:nvPr>
        </p:nvSpPr>
        <p:spPr>
          <a:xfrm>
            <a:off x="2895600" y="3429000"/>
            <a:ext cx="55863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11430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11" name="Shape 11"/>
          <p:cNvGrpSpPr/>
          <p:nvPr/>
        </p:nvGrpSpPr>
        <p:grpSpPr>
          <a:xfrm>
            <a:off x="502526" y="2895600"/>
            <a:ext cx="2369433" cy="773381"/>
            <a:chOff x="247175" y="1685725"/>
            <a:chExt cx="7134700" cy="2332975"/>
          </a:xfrm>
        </p:grpSpPr>
        <p:sp>
          <p:nvSpPr>
            <p:cNvPr id="12" name="Shape 12"/>
            <p:cNvSpPr/>
            <p:nvPr/>
          </p:nvSpPr>
          <p:spPr>
            <a:xfrm>
              <a:off x="7066475" y="2271225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" name="Shape 13"/>
            <p:cNvSpPr/>
            <p:nvPr/>
          </p:nvSpPr>
          <p:spPr>
            <a:xfrm>
              <a:off x="7215875" y="2271225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" name="Shape 14"/>
            <p:cNvSpPr/>
            <p:nvPr/>
          </p:nvSpPr>
          <p:spPr>
            <a:xfrm>
              <a:off x="7066475" y="2271225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" name="Shape 15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6" name="Shape 16"/>
            <p:cNvSpPr/>
            <p:nvPr/>
          </p:nvSpPr>
          <p:spPr>
            <a:xfrm>
              <a:off x="4736525" y="2360250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" name="Shape 17"/>
            <p:cNvSpPr/>
            <p:nvPr/>
          </p:nvSpPr>
          <p:spPr>
            <a:xfrm>
              <a:off x="4623350" y="3374325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" name="Shape 18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9" name="Shape 19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0" name="Shape 20"/>
            <p:cNvSpPr/>
            <p:nvPr/>
          </p:nvSpPr>
          <p:spPr>
            <a:xfrm>
              <a:off x="3502150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1" name="Shape 21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2" name="Shape 22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3" name="Shape 23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4" name="Shape 24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5" name="Shape 25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6" name="Shape 26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7" name="Shape 27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8" name="Shape 28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9" name="Shape 29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30" name="Shape 30"/>
            <p:cNvSpPr/>
            <p:nvPr/>
          </p:nvSpPr>
          <p:spPr>
            <a:xfrm>
              <a:off x="6343650" y="2328575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31" name="Shape 31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32" name="Shape 32"/>
          <p:cNvCxnSpPr/>
          <p:nvPr/>
        </p:nvCxnSpPr>
        <p:spPr>
          <a:xfrm rot="10800000" flipH="1">
            <a:off x="2864216" y="3381698"/>
            <a:ext cx="5594099" cy="599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33" name="Shape 33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parator (Green)">
  <p:cSld name="Separator (Green)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Shape 203"/>
          <p:cNvSpPr txBox="1">
            <a:spLocks noGrp="1"/>
          </p:cNvSpPr>
          <p:nvPr>
            <p:ph type="ctrTitle"/>
          </p:nvPr>
        </p:nvSpPr>
        <p:spPr>
          <a:xfrm>
            <a:off x="2871958" y="2286000"/>
            <a:ext cx="5586300" cy="109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4" name="Shape 204"/>
          <p:cNvSpPr txBox="1">
            <a:spLocks noGrp="1"/>
          </p:cNvSpPr>
          <p:nvPr>
            <p:ph type="subTitle" idx="1"/>
          </p:nvPr>
        </p:nvSpPr>
        <p:spPr>
          <a:xfrm>
            <a:off x="2871958" y="3352800"/>
            <a:ext cx="5586300" cy="1752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05" name="Shape 205"/>
          <p:cNvCxnSpPr/>
          <p:nvPr/>
        </p:nvCxnSpPr>
        <p:spPr>
          <a:xfrm>
            <a:off x="2864216" y="3382298"/>
            <a:ext cx="62799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dash"/>
            <a:round/>
            <a:headEnd type="none" w="lg" len="lg"/>
            <a:tailEnd type="none" w="lg" len="lg"/>
          </a:ln>
        </p:spPr>
      </p:cxnSp>
      <p:grpSp>
        <p:nvGrpSpPr>
          <p:cNvPr id="206" name="Shape 206"/>
          <p:cNvGrpSpPr/>
          <p:nvPr/>
        </p:nvGrpSpPr>
        <p:grpSpPr>
          <a:xfrm>
            <a:off x="0" y="4361807"/>
            <a:ext cx="9144308" cy="2491988"/>
            <a:chOff x="17169" y="4853348"/>
            <a:chExt cx="10133320" cy="2766724"/>
          </a:xfrm>
        </p:grpSpPr>
        <p:sp>
          <p:nvSpPr>
            <p:cNvPr id="207" name="Shape 207"/>
            <p:cNvSpPr/>
            <p:nvPr/>
          </p:nvSpPr>
          <p:spPr>
            <a:xfrm>
              <a:off x="6455228" y="5793701"/>
              <a:ext cx="1601355" cy="1826370"/>
            </a:xfrm>
            <a:custGeom>
              <a:avLst/>
              <a:gdLst/>
              <a:ahLst/>
              <a:cxnLst/>
              <a:rect l="0" t="0" r="0" b="0"/>
              <a:pathLst>
                <a:path w="41967" h="47864" extrusionOk="0">
                  <a:moveTo>
                    <a:pt x="17507" y="3104"/>
                  </a:moveTo>
                  <a:lnTo>
                    <a:pt x="18252" y="3228"/>
                  </a:lnTo>
                  <a:lnTo>
                    <a:pt x="18873" y="3353"/>
                  </a:lnTo>
                  <a:lnTo>
                    <a:pt x="19556" y="3539"/>
                  </a:lnTo>
                  <a:lnTo>
                    <a:pt x="20177" y="3787"/>
                  </a:lnTo>
                  <a:lnTo>
                    <a:pt x="20797" y="4098"/>
                  </a:lnTo>
                  <a:lnTo>
                    <a:pt x="21356" y="4470"/>
                  </a:lnTo>
                  <a:lnTo>
                    <a:pt x="21915" y="4843"/>
                  </a:lnTo>
                  <a:lnTo>
                    <a:pt x="22474" y="5277"/>
                  </a:lnTo>
                  <a:lnTo>
                    <a:pt x="22970" y="5712"/>
                  </a:lnTo>
                  <a:lnTo>
                    <a:pt x="23467" y="6208"/>
                  </a:lnTo>
                  <a:lnTo>
                    <a:pt x="23963" y="6767"/>
                  </a:lnTo>
                  <a:lnTo>
                    <a:pt x="24833" y="7946"/>
                  </a:lnTo>
                  <a:lnTo>
                    <a:pt x="25640" y="9188"/>
                  </a:lnTo>
                  <a:lnTo>
                    <a:pt x="26322" y="10492"/>
                  </a:lnTo>
                  <a:lnTo>
                    <a:pt x="26943" y="11920"/>
                  </a:lnTo>
                  <a:lnTo>
                    <a:pt x="27440" y="13347"/>
                  </a:lnTo>
                  <a:lnTo>
                    <a:pt x="27874" y="14775"/>
                  </a:lnTo>
                  <a:lnTo>
                    <a:pt x="28185" y="16203"/>
                  </a:lnTo>
                  <a:lnTo>
                    <a:pt x="28433" y="17631"/>
                  </a:lnTo>
                  <a:lnTo>
                    <a:pt x="28557" y="18997"/>
                  </a:lnTo>
                  <a:lnTo>
                    <a:pt x="28619" y="20300"/>
                  </a:lnTo>
                  <a:lnTo>
                    <a:pt x="28619" y="20983"/>
                  </a:lnTo>
                  <a:lnTo>
                    <a:pt x="28557" y="21790"/>
                  </a:lnTo>
                  <a:lnTo>
                    <a:pt x="28433" y="22659"/>
                  </a:lnTo>
                  <a:lnTo>
                    <a:pt x="28247" y="23528"/>
                  </a:lnTo>
                  <a:lnTo>
                    <a:pt x="27937" y="24459"/>
                  </a:lnTo>
                  <a:lnTo>
                    <a:pt x="27564" y="25391"/>
                  </a:lnTo>
                  <a:lnTo>
                    <a:pt x="27254" y="25887"/>
                  </a:lnTo>
                  <a:lnTo>
                    <a:pt x="27005" y="26322"/>
                  </a:lnTo>
                  <a:lnTo>
                    <a:pt x="26633" y="26756"/>
                  </a:lnTo>
                  <a:lnTo>
                    <a:pt x="26260" y="27129"/>
                  </a:lnTo>
                  <a:lnTo>
                    <a:pt x="25640" y="27688"/>
                  </a:lnTo>
                  <a:lnTo>
                    <a:pt x="24957" y="28184"/>
                  </a:lnTo>
                  <a:lnTo>
                    <a:pt x="24212" y="28619"/>
                  </a:lnTo>
                  <a:lnTo>
                    <a:pt x="23405" y="28991"/>
                  </a:lnTo>
                  <a:lnTo>
                    <a:pt x="22536" y="29302"/>
                  </a:lnTo>
                  <a:lnTo>
                    <a:pt x="21667" y="29550"/>
                  </a:lnTo>
                  <a:lnTo>
                    <a:pt x="20797" y="29736"/>
                  </a:lnTo>
                  <a:lnTo>
                    <a:pt x="19183" y="29736"/>
                  </a:lnTo>
                  <a:lnTo>
                    <a:pt x="18438" y="29674"/>
                  </a:lnTo>
                  <a:lnTo>
                    <a:pt x="17756" y="29488"/>
                  </a:lnTo>
                  <a:lnTo>
                    <a:pt x="17073" y="29302"/>
                  </a:lnTo>
                  <a:lnTo>
                    <a:pt x="16452" y="29053"/>
                  </a:lnTo>
                  <a:lnTo>
                    <a:pt x="15831" y="28743"/>
                  </a:lnTo>
                  <a:lnTo>
                    <a:pt x="15272" y="28433"/>
                  </a:lnTo>
                  <a:lnTo>
                    <a:pt x="14652" y="28060"/>
                  </a:lnTo>
                  <a:lnTo>
                    <a:pt x="14155" y="27625"/>
                  </a:lnTo>
                  <a:lnTo>
                    <a:pt x="13596" y="27191"/>
                  </a:lnTo>
                  <a:lnTo>
                    <a:pt x="13162" y="26694"/>
                  </a:lnTo>
                  <a:lnTo>
                    <a:pt x="12665" y="26136"/>
                  </a:lnTo>
                  <a:lnTo>
                    <a:pt x="11796" y="25018"/>
                  </a:lnTo>
                  <a:lnTo>
                    <a:pt x="11051" y="23777"/>
                  </a:lnTo>
                  <a:lnTo>
                    <a:pt x="10368" y="22473"/>
                  </a:lnTo>
                  <a:lnTo>
                    <a:pt x="9809" y="21107"/>
                  </a:lnTo>
                  <a:lnTo>
                    <a:pt x="9313" y="19741"/>
                  </a:lnTo>
                  <a:lnTo>
                    <a:pt x="8878" y="18376"/>
                  </a:lnTo>
                  <a:lnTo>
                    <a:pt x="8568" y="16948"/>
                  </a:lnTo>
                  <a:lnTo>
                    <a:pt x="8382" y="15644"/>
                  </a:lnTo>
                  <a:lnTo>
                    <a:pt x="8257" y="14341"/>
                  </a:lnTo>
                  <a:lnTo>
                    <a:pt x="8195" y="13099"/>
                  </a:lnTo>
                  <a:lnTo>
                    <a:pt x="8257" y="12168"/>
                  </a:lnTo>
                  <a:lnTo>
                    <a:pt x="8320" y="11299"/>
                  </a:lnTo>
                  <a:lnTo>
                    <a:pt x="8444" y="10368"/>
                  </a:lnTo>
                  <a:lnTo>
                    <a:pt x="8630" y="9498"/>
                  </a:lnTo>
                  <a:lnTo>
                    <a:pt x="8940" y="8629"/>
                  </a:lnTo>
                  <a:lnTo>
                    <a:pt x="9251" y="7760"/>
                  </a:lnTo>
                  <a:lnTo>
                    <a:pt x="9747" y="6953"/>
                  </a:lnTo>
                  <a:lnTo>
                    <a:pt x="10244" y="6208"/>
                  </a:lnTo>
                  <a:lnTo>
                    <a:pt x="10865" y="5525"/>
                  </a:lnTo>
                  <a:lnTo>
                    <a:pt x="11548" y="4905"/>
                  </a:lnTo>
                  <a:lnTo>
                    <a:pt x="12355" y="4408"/>
                  </a:lnTo>
                  <a:lnTo>
                    <a:pt x="13162" y="3911"/>
                  </a:lnTo>
                  <a:lnTo>
                    <a:pt x="14093" y="3601"/>
                  </a:lnTo>
                  <a:lnTo>
                    <a:pt x="14962" y="3291"/>
                  </a:lnTo>
                  <a:lnTo>
                    <a:pt x="15893" y="3166"/>
                  </a:lnTo>
                  <a:lnTo>
                    <a:pt x="16824" y="3104"/>
                  </a:lnTo>
                  <a:close/>
                  <a:moveTo>
                    <a:pt x="22722" y="0"/>
                  </a:moveTo>
                  <a:lnTo>
                    <a:pt x="20735" y="62"/>
                  </a:lnTo>
                  <a:lnTo>
                    <a:pt x="18687" y="187"/>
                  </a:lnTo>
                  <a:lnTo>
                    <a:pt x="17631" y="311"/>
                  </a:lnTo>
                  <a:lnTo>
                    <a:pt x="16576" y="497"/>
                  </a:lnTo>
                  <a:lnTo>
                    <a:pt x="15521" y="683"/>
                  </a:lnTo>
                  <a:lnTo>
                    <a:pt x="14465" y="932"/>
                  </a:lnTo>
                  <a:lnTo>
                    <a:pt x="13348" y="1242"/>
                  </a:lnTo>
                  <a:lnTo>
                    <a:pt x="12293" y="1614"/>
                  </a:lnTo>
                  <a:lnTo>
                    <a:pt x="11175" y="1987"/>
                  </a:lnTo>
                  <a:lnTo>
                    <a:pt x="10120" y="2484"/>
                  </a:lnTo>
                  <a:lnTo>
                    <a:pt x="9064" y="3042"/>
                  </a:lnTo>
                  <a:lnTo>
                    <a:pt x="8009" y="3663"/>
                  </a:lnTo>
                  <a:lnTo>
                    <a:pt x="6954" y="4346"/>
                  </a:lnTo>
                  <a:lnTo>
                    <a:pt x="5961" y="5153"/>
                  </a:lnTo>
                  <a:lnTo>
                    <a:pt x="5216" y="5836"/>
                  </a:lnTo>
                  <a:lnTo>
                    <a:pt x="4533" y="6519"/>
                  </a:lnTo>
                  <a:lnTo>
                    <a:pt x="3912" y="7202"/>
                  </a:lnTo>
                  <a:lnTo>
                    <a:pt x="3353" y="7946"/>
                  </a:lnTo>
                  <a:lnTo>
                    <a:pt x="2795" y="8753"/>
                  </a:lnTo>
                  <a:lnTo>
                    <a:pt x="2298" y="9498"/>
                  </a:lnTo>
                  <a:lnTo>
                    <a:pt x="1863" y="10305"/>
                  </a:lnTo>
                  <a:lnTo>
                    <a:pt x="1429" y="11112"/>
                  </a:lnTo>
                  <a:lnTo>
                    <a:pt x="1118" y="11920"/>
                  </a:lnTo>
                  <a:lnTo>
                    <a:pt x="808" y="12727"/>
                  </a:lnTo>
                  <a:lnTo>
                    <a:pt x="560" y="13596"/>
                  </a:lnTo>
                  <a:lnTo>
                    <a:pt x="373" y="14403"/>
                  </a:lnTo>
                  <a:lnTo>
                    <a:pt x="187" y="15210"/>
                  </a:lnTo>
                  <a:lnTo>
                    <a:pt x="63" y="16079"/>
                  </a:lnTo>
                  <a:lnTo>
                    <a:pt x="1" y="16886"/>
                  </a:lnTo>
                  <a:lnTo>
                    <a:pt x="1" y="17693"/>
                  </a:lnTo>
                  <a:lnTo>
                    <a:pt x="63" y="19059"/>
                  </a:lnTo>
                  <a:lnTo>
                    <a:pt x="249" y="20424"/>
                  </a:lnTo>
                  <a:lnTo>
                    <a:pt x="560" y="21728"/>
                  </a:lnTo>
                  <a:lnTo>
                    <a:pt x="994" y="23094"/>
                  </a:lnTo>
                  <a:lnTo>
                    <a:pt x="1553" y="24335"/>
                  </a:lnTo>
                  <a:lnTo>
                    <a:pt x="2298" y="25577"/>
                  </a:lnTo>
                  <a:lnTo>
                    <a:pt x="3105" y="26694"/>
                  </a:lnTo>
                  <a:lnTo>
                    <a:pt x="4036" y="27750"/>
                  </a:lnTo>
                  <a:lnTo>
                    <a:pt x="5091" y="28743"/>
                  </a:lnTo>
                  <a:lnTo>
                    <a:pt x="5650" y="29240"/>
                  </a:lnTo>
                  <a:lnTo>
                    <a:pt x="6209" y="29674"/>
                  </a:lnTo>
                  <a:lnTo>
                    <a:pt x="6830" y="30047"/>
                  </a:lnTo>
                  <a:lnTo>
                    <a:pt x="7513" y="30419"/>
                  </a:lnTo>
                  <a:lnTo>
                    <a:pt x="8195" y="30792"/>
                  </a:lnTo>
                  <a:lnTo>
                    <a:pt x="8878" y="31102"/>
                  </a:lnTo>
                  <a:lnTo>
                    <a:pt x="9623" y="31412"/>
                  </a:lnTo>
                  <a:lnTo>
                    <a:pt x="10368" y="31661"/>
                  </a:lnTo>
                  <a:lnTo>
                    <a:pt x="11175" y="31847"/>
                  </a:lnTo>
                  <a:lnTo>
                    <a:pt x="11982" y="32033"/>
                  </a:lnTo>
                  <a:lnTo>
                    <a:pt x="12851" y="32219"/>
                  </a:lnTo>
                  <a:lnTo>
                    <a:pt x="13720" y="32281"/>
                  </a:lnTo>
                  <a:lnTo>
                    <a:pt x="14590" y="32343"/>
                  </a:lnTo>
                  <a:lnTo>
                    <a:pt x="15521" y="32406"/>
                  </a:lnTo>
                  <a:lnTo>
                    <a:pt x="16949" y="32343"/>
                  </a:lnTo>
                  <a:lnTo>
                    <a:pt x="18501" y="32219"/>
                  </a:lnTo>
                  <a:lnTo>
                    <a:pt x="18128" y="33026"/>
                  </a:lnTo>
                  <a:lnTo>
                    <a:pt x="17880" y="33833"/>
                  </a:lnTo>
                  <a:lnTo>
                    <a:pt x="17631" y="34765"/>
                  </a:lnTo>
                  <a:lnTo>
                    <a:pt x="17569" y="35261"/>
                  </a:lnTo>
                  <a:lnTo>
                    <a:pt x="17569" y="35820"/>
                  </a:lnTo>
                  <a:lnTo>
                    <a:pt x="17631" y="36875"/>
                  </a:lnTo>
                  <a:lnTo>
                    <a:pt x="17818" y="37806"/>
                  </a:lnTo>
                  <a:lnTo>
                    <a:pt x="18128" y="38676"/>
                  </a:lnTo>
                  <a:lnTo>
                    <a:pt x="18501" y="39483"/>
                  </a:lnTo>
                  <a:lnTo>
                    <a:pt x="18935" y="40228"/>
                  </a:lnTo>
                  <a:lnTo>
                    <a:pt x="19370" y="40910"/>
                  </a:lnTo>
                  <a:lnTo>
                    <a:pt x="20363" y="42214"/>
                  </a:lnTo>
                  <a:lnTo>
                    <a:pt x="18625" y="42338"/>
                  </a:lnTo>
                  <a:lnTo>
                    <a:pt x="16638" y="42524"/>
                  </a:lnTo>
                  <a:lnTo>
                    <a:pt x="14403" y="42773"/>
                  </a:lnTo>
                  <a:lnTo>
                    <a:pt x="12044" y="43145"/>
                  </a:lnTo>
                  <a:lnTo>
                    <a:pt x="10803" y="43394"/>
                  </a:lnTo>
                  <a:lnTo>
                    <a:pt x="9623" y="43642"/>
                  </a:lnTo>
                  <a:lnTo>
                    <a:pt x="8382" y="44014"/>
                  </a:lnTo>
                  <a:lnTo>
                    <a:pt x="7140" y="44387"/>
                  </a:lnTo>
                  <a:lnTo>
                    <a:pt x="5961" y="44821"/>
                  </a:lnTo>
                  <a:lnTo>
                    <a:pt x="4781" y="45318"/>
                  </a:lnTo>
                  <a:lnTo>
                    <a:pt x="3602" y="45877"/>
                  </a:lnTo>
                  <a:lnTo>
                    <a:pt x="2484" y="46497"/>
                  </a:lnTo>
                  <a:lnTo>
                    <a:pt x="1491" y="47180"/>
                  </a:lnTo>
                  <a:lnTo>
                    <a:pt x="560" y="47863"/>
                  </a:lnTo>
                  <a:lnTo>
                    <a:pt x="8257" y="47863"/>
                  </a:lnTo>
                  <a:lnTo>
                    <a:pt x="9251" y="47305"/>
                  </a:lnTo>
                  <a:lnTo>
                    <a:pt x="10120" y="46870"/>
                  </a:lnTo>
                  <a:lnTo>
                    <a:pt x="11548" y="46311"/>
                  </a:lnTo>
                  <a:lnTo>
                    <a:pt x="13100" y="45877"/>
                  </a:lnTo>
                  <a:lnTo>
                    <a:pt x="14652" y="45566"/>
                  </a:lnTo>
                  <a:lnTo>
                    <a:pt x="16204" y="45256"/>
                  </a:lnTo>
                  <a:lnTo>
                    <a:pt x="17631" y="45070"/>
                  </a:lnTo>
                  <a:lnTo>
                    <a:pt x="18935" y="44946"/>
                  </a:lnTo>
                  <a:lnTo>
                    <a:pt x="20052" y="44883"/>
                  </a:lnTo>
                  <a:lnTo>
                    <a:pt x="21418" y="44821"/>
                  </a:lnTo>
                  <a:lnTo>
                    <a:pt x="22536" y="44821"/>
                  </a:lnTo>
                  <a:lnTo>
                    <a:pt x="23529" y="44946"/>
                  </a:lnTo>
                  <a:lnTo>
                    <a:pt x="25702" y="46435"/>
                  </a:lnTo>
                  <a:lnTo>
                    <a:pt x="27564" y="47863"/>
                  </a:lnTo>
                  <a:lnTo>
                    <a:pt x="38738" y="47863"/>
                  </a:lnTo>
                  <a:lnTo>
                    <a:pt x="38180" y="46808"/>
                  </a:lnTo>
                  <a:lnTo>
                    <a:pt x="37497" y="45753"/>
                  </a:lnTo>
                  <a:lnTo>
                    <a:pt x="36752" y="44821"/>
                  </a:lnTo>
                  <a:lnTo>
                    <a:pt x="35945" y="43890"/>
                  </a:lnTo>
                  <a:lnTo>
                    <a:pt x="35014" y="43021"/>
                  </a:lnTo>
                  <a:lnTo>
                    <a:pt x="34144" y="42214"/>
                  </a:lnTo>
                  <a:lnTo>
                    <a:pt x="32158" y="40538"/>
                  </a:lnTo>
                  <a:lnTo>
                    <a:pt x="28806" y="37931"/>
                  </a:lnTo>
                  <a:lnTo>
                    <a:pt x="27999" y="37186"/>
                  </a:lnTo>
                  <a:lnTo>
                    <a:pt x="27564" y="36813"/>
                  </a:lnTo>
                  <a:lnTo>
                    <a:pt x="27192" y="36379"/>
                  </a:lnTo>
                  <a:lnTo>
                    <a:pt x="26881" y="35820"/>
                  </a:lnTo>
                  <a:lnTo>
                    <a:pt x="26571" y="35261"/>
                  </a:lnTo>
                  <a:lnTo>
                    <a:pt x="26447" y="34640"/>
                  </a:lnTo>
                  <a:lnTo>
                    <a:pt x="26385" y="33895"/>
                  </a:lnTo>
                  <a:lnTo>
                    <a:pt x="26447" y="33151"/>
                  </a:lnTo>
                  <a:lnTo>
                    <a:pt x="26571" y="32468"/>
                  </a:lnTo>
                  <a:lnTo>
                    <a:pt x="26881" y="31847"/>
                  </a:lnTo>
                  <a:lnTo>
                    <a:pt x="27192" y="31288"/>
                  </a:lnTo>
                  <a:lnTo>
                    <a:pt x="27626" y="30729"/>
                  </a:lnTo>
                  <a:lnTo>
                    <a:pt x="28061" y="30233"/>
                  </a:lnTo>
                  <a:lnTo>
                    <a:pt x="28992" y="29302"/>
                  </a:lnTo>
                  <a:lnTo>
                    <a:pt x="30420" y="28122"/>
                  </a:lnTo>
                  <a:lnTo>
                    <a:pt x="31848" y="26881"/>
                  </a:lnTo>
                  <a:lnTo>
                    <a:pt x="32530" y="26260"/>
                  </a:lnTo>
                  <a:lnTo>
                    <a:pt x="33213" y="25577"/>
                  </a:lnTo>
                  <a:lnTo>
                    <a:pt x="33834" y="24832"/>
                  </a:lnTo>
                  <a:lnTo>
                    <a:pt x="34393" y="24087"/>
                  </a:lnTo>
                  <a:lnTo>
                    <a:pt x="34889" y="23280"/>
                  </a:lnTo>
                  <a:lnTo>
                    <a:pt x="35386" y="22473"/>
                  </a:lnTo>
                  <a:lnTo>
                    <a:pt x="35821" y="21542"/>
                  </a:lnTo>
                  <a:lnTo>
                    <a:pt x="36131" y="20548"/>
                  </a:lnTo>
                  <a:lnTo>
                    <a:pt x="36441" y="19555"/>
                  </a:lnTo>
                  <a:lnTo>
                    <a:pt x="36690" y="18438"/>
                  </a:lnTo>
                  <a:lnTo>
                    <a:pt x="36814" y="17258"/>
                  </a:lnTo>
                  <a:lnTo>
                    <a:pt x="36814" y="16017"/>
                  </a:lnTo>
                  <a:lnTo>
                    <a:pt x="36814" y="14713"/>
                  </a:lnTo>
                  <a:lnTo>
                    <a:pt x="36628" y="13471"/>
                  </a:lnTo>
                  <a:lnTo>
                    <a:pt x="36379" y="12354"/>
                  </a:lnTo>
                  <a:lnTo>
                    <a:pt x="36131" y="11299"/>
                  </a:lnTo>
                  <a:lnTo>
                    <a:pt x="35758" y="10305"/>
                  </a:lnTo>
                  <a:lnTo>
                    <a:pt x="35324" y="9374"/>
                  </a:lnTo>
                  <a:lnTo>
                    <a:pt x="34827" y="8505"/>
                  </a:lnTo>
                  <a:lnTo>
                    <a:pt x="34331" y="7698"/>
                  </a:lnTo>
                  <a:lnTo>
                    <a:pt x="33772" y="6953"/>
                  </a:lnTo>
                  <a:lnTo>
                    <a:pt x="33213" y="6270"/>
                  </a:lnTo>
                  <a:lnTo>
                    <a:pt x="32717" y="5650"/>
                  </a:lnTo>
                  <a:lnTo>
                    <a:pt x="32158" y="5091"/>
                  </a:lnTo>
                  <a:lnTo>
                    <a:pt x="31103" y="4160"/>
                  </a:lnTo>
                  <a:lnTo>
                    <a:pt x="30171" y="3353"/>
                  </a:lnTo>
                  <a:lnTo>
                    <a:pt x="36007" y="3353"/>
                  </a:lnTo>
                  <a:lnTo>
                    <a:pt x="41966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08" name="Shape 208"/>
            <p:cNvSpPr/>
            <p:nvPr/>
          </p:nvSpPr>
          <p:spPr>
            <a:xfrm>
              <a:off x="4484510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839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3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5" y="11734"/>
                  </a:lnTo>
                  <a:lnTo>
                    <a:pt x="34330" y="12665"/>
                  </a:lnTo>
                  <a:lnTo>
                    <a:pt x="34702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3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8" y="33523"/>
                  </a:lnTo>
                  <a:lnTo>
                    <a:pt x="35882" y="34765"/>
                  </a:lnTo>
                  <a:lnTo>
                    <a:pt x="35571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454" y="37186"/>
                  </a:lnTo>
                  <a:lnTo>
                    <a:pt x="34082" y="37683"/>
                  </a:lnTo>
                  <a:lnTo>
                    <a:pt x="33585" y="38241"/>
                  </a:lnTo>
                  <a:lnTo>
                    <a:pt x="33150" y="38738"/>
                  </a:lnTo>
                  <a:lnTo>
                    <a:pt x="32592" y="39173"/>
                  </a:lnTo>
                  <a:lnTo>
                    <a:pt x="32033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7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7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340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8" y="33151"/>
                  </a:lnTo>
                  <a:lnTo>
                    <a:pt x="12292" y="32220"/>
                  </a:lnTo>
                  <a:lnTo>
                    <a:pt x="11857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0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22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29" y="10057"/>
                  </a:lnTo>
                  <a:lnTo>
                    <a:pt x="10740" y="9313"/>
                  </a:lnTo>
                  <a:lnTo>
                    <a:pt x="11174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6" y="6705"/>
                  </a:lnTo>
                  <a:lnTo>
                    <a:pt x="13409" y="6084"/>
                  </a:lnTo>
                  <a:lnTo>
                    <a:pt x="14278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0" y="2918"/>
                  </a:lnTo>
                  <a:lnTo>
                    <a:pt x="21790" y="2856"/>
                  </a:lnTo>
                  <a:close/>
                  <a:moveTo>
                    <a:pt x="22907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699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2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0" y="13968"/>
                  </a:lnTo>
                  <a:lnTo>
                    <a:pt x="1366" y="15024"/>
                  </a:lnTo>
                  <a:lnTo>
                    <a:pt x="1055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248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8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18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0" y="34268"/>
                  </a:lnTo>
                  <a:lnTo>
                    <a:pt x="3849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19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7" y="44698"/>
                  </a:lnTo>
                  <a:lnTo>
                    <a:pt x="22783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2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19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0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79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4945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7" y="23094"/>
                  </a:lnTo>
                  <a:lnTo>
                    <a:pt x="46559" y="22039"/>
                  </a:lnTo>
                  <a:lnTo>
                    <a:pt x="46497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7" y="13844"/>
                  </a:lnTo>
                  <a:lnTo>
                    <a:pt x="44573" y="12851"/>
                  </a:lnTo>
                  <a:lnTo>
                    <a:pt x="44138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447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33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09" name="Shape 209"/>
            <p:cNvSpPr/>
            <p:nvPr/>
          </p:nvSpPr>
          <p:spPr>
            <a:xfrm>
              <a:off x="2482961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901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4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6" y="11734"/>
                  </a:lnTo>
                  <a:lnTo>
                    <a:pt x="34330" y="12665"/>
                  </a:lnTo>
                  <a:lnTo>
                    <a:pt x="34703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4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9" y="33523"/>
                  </a:lnTo>
                  <a:lnTo>
                    <a:pt x="35882" y="34765"/>
                  </a:lnTo>
                  <a:lnTo>
                    <a:pt x="35572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516" y="37186"/>
                  </a:lnTo>
                  <a:lnTo>
                    <a:pt x="34082" y="37683"/>
                  </a:lnTo>
                  <a:lnTo>
                    <a:pt x="33647" y="38241"/>
                  </a:lnTo>
                  <a:lnTo>
                    <a:pt x="33151" y="38738"/>
                  </a:lnTo>
                  <a:lnTo>
                    <a:pt x="32592" y="39173"/>
                  </a:lnTo>
                  <a:lnTo>
                    <a:pt x="32095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8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8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403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9" y="33151"/>
                  </a:lnTo>
                  <a:lnTo>
                    <a:pt x="12354" y="32220"/>
                  </a:lnTo>
                  <a:lnTo>
                    <a:pt x="11920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1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85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30" y="10057"/>
                  </a:lnTo>
                  <a:lnTo>
                    <a:pt x="10740" y="9313"/>
                  </a:lnTo>
                  <a:lnTo>
                    <a:pt x="11175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7" y="6705"/>
                  </a:lnTo>
                  <a:lnTo>
                    <a:pt x="13409" y="6084"/>
                  </a:lnTo>
                  <a:lnTo>
                    <a:pt x="14279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1" y="2918"/>
                  </a:lnTo>
                  <a:lnTo>
                    <a:pt x="21790" y="2856"/>
                  </a:lnTo>
                  <a:close/>
                  <a:moveTo>
                    <a:pt x="22908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700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3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1" y="13968"/>
                  </a:lnTo>
                  <a:lnTo>
                    <a:pt x="1366" y="15024"/>
                  </a:lnTo>
                  <a:lnTo>
                    <a:pt x="1056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311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9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80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1" y="34268"/>
                  </a:lnTo>
                  <a:lnTo>
                    <a:pt x="3911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20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8" y="44698"/>
                  </a:lnTo>
                  <a:lnTo>
                    <a:pt x="22845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3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20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1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80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5008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8" y="23094"/>
                  </a:lnTo>
                  <a:lnTo>
                    <a:pt x="46560" y="22039"/>
                  </a:lnTo>
                  <a:lnTo>
                    <a:pt x="46498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8" y="13844"/>
                  </a:lnTo>
                  <a:lnTo>
                    <a:pt x="44573" y="12851"/>
                  </a:lnTo>
                  <a:lnTo>
                    <a:pt x="44139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510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95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10" name="Shape 210"/>
            <p:cNvSpPr/>
            <p:nvPr/>
          </p:nvSpPr>
          <p:spPr>
            <a:xfrm>
              <a:off x="17169" y="4936221"/>
              <a:ext cx="2309597" cy="2638858"/>
            </a:xfrm>
            <a:custGeom>
              <a:avLst/>
              <a:gdLst/>
              <a:ahLst/>
              <a:cxnLst/>
              <a:rect l="0" t="0" r="0" b="0"/>
              <a:pathLst>
                <a:path w="60528" h="69157" extrusionOk="0">
                  <a:moveTo>
                    <a:pt x="30170" y="1"/>
                  </a:moveTo>
                  <a:lnTo>
                    <a:pt x="27687" y="63"/>
                  </a:lnTo>
                  <a:lnTo>
                    <a:pt x="25266" y="249"/>
                  </a:lnTo>
                  <a:lnTo>
                    <a:pt x="22969" y="559"/>
                  </a:lnTo>
                  <a:lnTo>
                    <a:pt x="20672" y="994"/>
                  </a:lnTo>
                  <a:lnTo>
                    <a:pt x="18500" y="1491"/>
                  </a:lnTo>
                  <a:lnTo>
                    <a:pt x="16451" y="2111"/>
                  </a:lnTo>
                  <a:lnTo>
                    <a:pt x="14402" y="2856"/>
                  </a:lnTo>
                  <a:lnTo>
                    <a:pt x="12478" y="3663"/>
                  </a:lnTo>
                  <a:lnTo>
                    <a:pt x="10616" y="4533"/>
                  </a:lnTo>
                  <a:lnTo>
                    <a:pt x="8815" y="5588"/>
                  </a:lnTo>
                  <a:lnTo>
                    <a:pt x="7139" y="6643"/>
                  </a:lnTo>
                  <a:lnTo>
                    <a:pt x="5525" y="7823"/>
                  </a:lnTo>
                  <a:lnTo>
                    <a:pt x="4035" y="9064"/>
                  </a:lnTo>
                  <a:lnTo>
                    <a:pt x="2607" y="10368"/>
                  </a:lnTo>
                  <a:lnTo>
                    <a:pt x="1242" y="11734"/>
                  </a:lnTo>
                  <a:lnTo>
                    <a:pt x="0" y="13224"/>
                  </a:lnTo>
                  <a:lnTo>
                    <a:pt x="0" y="57238"/>
                  </a:lnTo>
                  <a:lnTo>
                    <a:pt x="1117" y="58541"/>
                  </a:lnTo>
                  <a:lnTo>
                    <a:pt x="2297" y="59721"/>
                  </a:lnTo>
                  <a:lnTo>
                    <a:pt x="3539" y="60900"/>
                  </a:lnTo>
                  <a:lnTo>
                    <a:pt x="4904" y="62018"/>
                  </a:lnTo>
                  <a:lnTo>
                    <a:pt x="6332" y="63073"/>
                  </a:lnTo>
                  <a:lnTo>
                    <a:pt x="7884" y="64004"/>
                  </a:lnTo>
                  <a:lnTo>
                    <a:pt x="9436" y="64935"/>
                  </a:lnTo>
                  <a:lnTo>
                    <a:pt x="11174" y="65742"/>
                  </a:lnTo>
                  <a:lnTo>
                    <a:pt x="12912" y="66549"/>
                  </a:lnTo>
                  <a:lnTo>
                    <a:pt x="14837" y="67170"/>
                  </a:lnTo>
                  <a:lnTo>
                    <a:pt x="16761" y="67729"/>
                  </a:lnTo>
                  <a:lnTo>
                    <a:pt x="18810" y="68226"/>
                  </a:lnTo>
                  <a:lnTo>
                    <a:pt x="20983" y="68598"/>
                  </a:lnTo>
                  <a:lnTo>
                    <a:pt x="23218" y="68908"/>
                  </a:lnTo>
                  <a:lnTo>
                    <a:pt x="25577" y="69095"/>
                  </a:lnTo>
                  <a:lnTo>
                    <a:pt x="27998" y="69157"/>
                  </a:lnTo>
                  <a:lnTo>
                    <a:pt x="29922" y="69095"/>
                  </a:lnTo>
                  <a:lnTo>
                    <a:pt x="31847" y="68970"/>
                  </a:lnTo>
                  <a:lnTo>
                    <a:pt x="33771" y="68846"/>
                  </a:lnTo>
                  <a:lnTo>
                    <a:pt x="35633" y="68660"/>
                  </a:lnTo>
                  <a:lnTo>
                    <a:pt x="39482" y="68163"/>
                  </a:lnTo>
                  <a:lnTo>
                    <a:pt x="43517" y="67543"/>
                  </a:lnTo>
                  <a:lnTo>
                    <a:pt x="56927" y="64439"/>
                  </a:lnTo>
                  <a:lnTo>
                    <a:pt x="56927" y="52954"/>
                  </a:lnTo>
                  <a:lnTo>
                    <a:pt x="56989" y="50657"/>
                  </a:lnTo>
                  <a:lnTo>
                    <a:pt x="57113" y="48484"/>
                  </a:lnTo>
                  <a:lnTo>
                    <a:pt x="57237" y="47988"/>
                  </a:lnTo>
                  <a:lnTo>
                    <a:pt x="57423" y="47615"/>
                  </a:lnTo>
                  <a:lnTo>
                    <a:pt x="57671" y="47305"/>
                  </a:lnTo>
                  <a:lnTo>
                    <a:pt x="58044" y="46932"/>
                  </a:lnTo>
                  <a:lnTo>
                    <a:pt x="60527" y="44636"/>
                  </a:lnTo>
                  <a:lnTo>
                    <a:pt x="40600" y="44636"/>
                  </a:lnTo>
                  <a:lnTo>
                    <a:pt x="33088" y="48671"/>
                  </a:lnTo>
                  <a:lnTo>
                    <a:pt x="47242" y="47926"/>
                  </a:lnTo>
                  <a:lnTo>
                    <a:pt x="47242" y="63011"/>
                  </a:lnTo>
                  <a:lnTo>
                    <a:pt x="45069" y="63880"/>
                  </a:lnTo>
                  <a:lnTo>
                    <a:pt x="43828" y="64252"/>
                  </a:lnTo>
                  <a:lnTo>
                    <a:pt x="42524" y="64625"/>
                  </a:lnTo>
                  <a:lnTo>
                    <a:pt x="41034" y="64935"/>
                  </a:lnTo>
                  <a:lnTo>
                    <a:pt x="39358" y="65184"/>
                  </a:lnTo>
                  <a:lnTo>
                    <a:pt x="37434" y="65308"/>
                  </a:lnTo>
                  <a:lnTo>
                    <a:pt x="35323" y="65370"/>
                  </a:lnTo>
                  <a:lnTo>
                    <a:pt x="33461" y="65308"/>
                  </a:lnTo>
                  <a:lnTo>
                    <a:pt x="31598" y="65184"/>
                  </a:lnTo>
                  <a:lnTo>
                    <a:pt x="29798" y="64935"/>
                  </a:lnTo>
                  <a:lnTo>
                    <a:pt x="27998" y="64625"/>
                  </a:lnTo>
                  <a:lnTo>
                    <a:pt x="26322" y="64190"/>
                  </a:lnTo>
                  <a:lnTo>
                    <a:pt x="24645" y="63694"/>
                  </a:lnTo>
                  <a:lnTo>
                    <a:pt x="23031" y="63135"/>
                  </a:lnTo>
                  <a:lnTo>
                    <a:pt x="21479" y="62514"/>
                  </a:lnTo>
                  <a:lnTo>
                    <a:pt x="19989" y="61769"/>
                  </a:lnTo>
                  <a:lnTo>
                    <a:pt x="18562" y="60962"/>
                  </a:lnTo>
                  <a:lnTo>
                    <a:pt x="17134" y="60093"/>
                  </a:lnTo>
                  <a:lnTo>
                    <a:pt x="15830" y="59162"/>
                  </a:lnTo>
                  <a:lnTo>
                    <a:pt x="14527" y="58169"/>
                  </a:lnTo>
                  <a:lnTo>
                    <a:pt x="13285" y="57113"/>
                  </a:lnTo>
                  <a:lnTo>
                    <a:pt x="12168" y="55996"/>
                  </a:lnTo>
                  <a:lnTo>
                    <a:pt x="11050" y="54879"/>
                  </a:lnTo>
                  <a:lnTo>
                    <a:pt x="9995" y="53637"/>
                  </a:lnTo>
                  <a:lnTo>
                    <a:pt x="9001" y="52395"/>
                  </a:lnTo>
                  <a:lnTo>
                    <a:pt x="8070" y="51030"/>
                  </a:lnTo>
                  <a:lnTo>
                    <a:pt x="7201" y="49726"/>
                  </a:lnTo>
                  <a:lnTo>
                    <a:pt x="6394" y="48298"/>
                  </a:lnTo>
                  <a:lnTo>
                    <a:pt x="5649" y="46870"/>
                  </a:lnTo>
                  <a:lnTo>
                    <a:pt x="5028" y="45380"/>
                  </a:lnTo>
                  <a:lnTo>
                    <a:pt x="4408" y="43891"/>
                  </a:lnTo>
                  <a:lnTo>
                    <a:pt x="3849" y="42339"/>
                  </a:lnTo>
                  <a:lnTo>
                    <a:pt x="3414" y="40787"/>
                  </a:lnTo>
                  <a:lnTo>
                    <a:pt x="2980" y="39235"/>
                  </a:lnTo>
                  <a:lnTo>
                    <a:pt x="2669" y="37621"/>
                  </a:lnTo>
                  <a:lnTo>
                    <a:pt x="2421" y="36007"/>
                  </a:lnTo>
                  <a:lnTo>
                    <a:pt x="2235" y="34393"/>
                  </a:lnTo>
                  <a:lnTo>
                    <a:pt x="2111" y="32716"/>
                  </a:lnTo>
                  <a:lnTo>
                    <a:pt x="2111" y="31102"/>
                  </a:lnTo>
                  <a:lnTo>
                    <a:pt x="2111" y="29550"/>
                  </a:lnTo>
                  <a:lnTo>
                    <a:pt x="2235" y="28060"/>
                  </a:lnTo>
                  <a:lnTo>
                    <a:pt x="2359" y="26633"/>
                  </a:lnTo>
                  <a:lnTo>
                    <a:pt x="2607" y="25205"/>
                  </a:lnTo>
                  <a:lnTo>
                    <a:pt x="2856" y="23777"/>
                  </a:lnTo>
                  <a:lnTo>
                    <a:pt x="3228" y="22411"/>
                  </a:lnTo>
                  <a:lnTo>
                    <a:pt x="3601" y="21108"/>
                  </a:lnTo>
                  <a:lnTo>
                    <a:pt x="4035" y="19804"/>
                  </a:lnTo>
                  <a:lnTo>
                    <a:pt x="4594" y="18562"/>
                  </a:lnTo>
                  <a:lnTo>
                    <a:pt x="5153" y="17383"/>
                  </a:lnTo>
                  <a:lnTo>
                    <a:pt x="5773" y="16203"/>
                  </a:lnTo>
                  <a:lnTo>
                    <a:pt x="6394" y="15086"/>
                  </a:lnTo>
                  <a:lnTo>
                    <a:pt x="7139" y="14031"/>
                  </a:lnTo>
                  <a:lnTo>
                    <a:pt x="7884" y="12975"/>
                  </a:lnTo>
                  <a:lnTo>
                    <a:pt x="8691" y="12044"/>
                  </a:lnTo>
                  <a:lnTo>
                    <a:pt x="9560" y="11051"/>
                  </a:lnTo>
                  <a:lnTo>
                    <a:pt x="10429" y="10182"/>
                  </a:lnTo>
                  <a:lnTo>
                    <a:pt x="11360" y="9375"/>
                  </a:lnTo>
                  <a:lnTo>
                    <a:pt x="12354" y="8568"/>
                  </a:lnTo>
                  <a:lnTo>
                    <a:pt x="13347" y="7823"/>
                  </a:lnTo>
                  <a:lnTo>
                    <a:pt x="14402" y="7140"/>
                  </a:lnTo>
                  <a:lnTo>
                    <a:pt x="15520" y="6519"/>
                  </a:lnTo>
                  <a:lnTo>
                    <a:pt x="16637" y="5898"/>
                  </a:lnTo>
                  <a:lnTo>
                    <a:pt x="17755" y="5402"/>
                  </a:lnTo>
                  <a:lnTo>
                    <a:pt x="18996" y="4967"/>
                  </a:lnTo>
                  <a:lnTo>
                    <a:pt x="20176" y="4533"/>
                  </a:lnTo>
                  <a:lnTo>
                    <a:pt x="21417" y="4160"/>
                  </a:lnTo>
                  <a:lnTo>
                    <a:pt x="22721" y="3912"/>
                  </a:lnTo>
                  <a:lnTo>
                    <a:pt x="24025" y="3663"/>
                  </a:lnTo>
                  <a:lnTo>
                    <a:pt x="25390" y="3539"/>
                  </a:lnTo>
                  <a:lnTo>
                    <a:pt x="26694" y="3415"/>
                  </a:lnTo>
                  <a:lnTo>
                    <a:pt x="28122" y="3415"/>
                  </a:lnTo>
                  <a:lnTo>
                    <a:pt x="30108" y="3477"/>
                  </a:lnTo>
                  <a:lnTo>
                    <a:pt x="32033" y="3663"/>
                  </a:lnTo>
                  <a:lnTo>
                    <a:pt x="33771" y="3912"/>
                  </a:lnTo>
                  <a:lnTo>
                    <a:pt x="35447" y="4346"/>
                  </a:lnTo>
                  <a:lnTo>
                    <a:pt x="36999" y="4781"/>
                  </a:lnTo>
                  <a:lnTo>
                    <a:pt x="38489" y="5340"/>
                  </a:lnTo>
                  <a:lnTo>
                    <a:pt x="39855" y="5960"/>
                  </a:lnTo>
                  <a:lnTo>
                    <a:pt x="41096" y="6643"/>
                  </a:lnTo>
                  <a:lnTo>
                    <a:pt x="42276" y="7326"/>
                  </a:lnTo>
                  <a:lnTo>
                    <a:pt x="43331" y="8071"/>
                  </a:lnTo>
                  <a:lnTo>
                    <a:pt x="44324" y="8816"/>
                  </a:lnTo>
                  <a:lnTo>
                    <a:pt x="45256" y="9499"/>
                  </a:lnTo>
                  <a:lnTo>
                    <a:pt x="46870" y="10927"/>
                  </a:lnTo>
                  <a:lnTo>
                    <a:pt x="48173" y="12230"/>
                  </a:lnTo>
                  <a:lnTo>
                    <a:pt x="45876" y="15955"/>
                  </a:lnTo>
                  <a:lnTo>
                    <a:pt x="49167" y="15210"/>
                  </a:lnTo>
                  <a:lnTo>
                    <a:pt x="56927" y="7823"/>
                  </a:lnTo>
                  <a:lnTo>
                    <a:pt x="55126" y="6581"/>
                  </a:lnTo>
                  <a:lnTo>
                    <a:pt x="53947" y="5836"/>
                  </a:lnTo>
                  <a:lnTo>
                    <a:pt x="52581" y="5091"/>
                  </a:lnTo>
                  <a:lnTo>
                    <a:pt x="51029" y="4346"/>
                  </a:lnTo>
                  <a:lnTo>
                    <a:pt x="49167" y="3539"/>
                  </a:lnTo>
                  <a:lnTo>
                    <a:pt x="46994" y="2732"/>
                  </a:lnTo>
                  <a:lnTo>
                    <a:pt x="44511" y="1987"/>
                  </a:lnTo>
                  <a:lnTo>
                    <a:pt x="42835" y="1553"/>
                  </a:lnTo>
                  <a:lnTo>
                    <a:pt x="41158" y="1180"/>
                  </a:lnTo>
                  <a:lnTo>
                    <a:pt x="39358" y="808"/>
                  </a:lnTo>
                  <a:lnTo>
                    <a:pt x="37620" y="559"/>
                  </a:lnTo>
                  <a:lnTo>
                    <a:pt x="35758" y="311"/>
                  </a:lnTo>
                  <a:lnTo>
                    <a:pt x="33957" y="125"/>
                  </a:lnTo>
                  <a:lnTo>
                    <a:pt x="32033" y="63"/>
                  </a:lnTo>
                  <a:lnTo>
                    <a:pt x="30170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11" name="Shape 211"/>
            <p:cNvSpPr/>
            <p:nvPr/>
          </p:nvSpPr>
          <p:spPr>
            <a:xfrm>
              <a:off x="8013824" y="4853348"/>
              <a:ext cx="945199" cy="2534611"/>
            </a:xfrm>
            <a:custGeom>
              <a:avLst/>
              <a:gdLst/>
              <a:ahLst/>
              <a:cxnLst/>
              <a:rect l="0" t="0" r="0" b="0"/>
              <a:pathLst>
                <a:path w="24771" h="66425" extrusionOk="0">
                  <a:moveTo>
                    <a:pt x="7078" y="0"/>
                  </a:moveTo>
                  <a:lnTo>
                    <a:pt x="1" y="3414"/>
                  </a:lnTo>
                  <a:lnTo>
                    <a:pt x="7202" y="3414"/>
                  </a:lnTo>
                  <a:lnTo>
                    <a:pt x="7202" y="58354"/>
                  </a:lnTo>
                  <a:lnTo>
                    <a:pt x="7202" y="61458"/>
                  </a:lnTo>
                  <a:lnTo>
                    <a:pt x="7202" y="62079"/>
                  </a:lnTo>
                  <a:lnTo>
                    <a:pt x="7140" y="62638"/>
                  </a:lnTo>
                  <a:lnTo>
                    <a:pt x="6954" y="63134"/>
                  </a:lnTo>
                  <a:lnTo>
                    <a:pt x="6768" y="63569"/>
                  </a:lnTo>
                  <a:lnTo>
                    <a:pt x="6395" y="64128"/>
                  </a:lnTo>
                  <a:lnTo>
                    <a:pt x="5961" y="64748"/>
                  </a:lnTo>
                  <a:lnTo>
                    <a:pt x="4657" y="66424"/>
                  </a:lnTo>
                  <a:lnTo>
                    <a:pt x="21294" y="66424"/>
                  </a:lnTo>
                  <a:lnTo>
                    <a:pt x="24771" y="64376"/>
                  </a:lnTo>
                  <a:lnTo>
                    <a:pt x="22349" y="64128"/>
                  </a:lnTo>
                  <a:lnTo>
                    <a:pt x="19990" y="63879"/>
                  </a:lnTo>
                  <a:lnTo>
                    <a:pt x="18935" y="63755"/>
                  </a:lnTo>
                  <a:lnTo>
                    <a:pt x="18066" y="63569"/>
                  </a:lnTo>
                  <a:lnTo>
                    <a:pt x="17756" y="63445"/>
                  </a:lnTo>
                  <a:lnTo>
                    <a:pt x="17445" y="63321"/>
                  </a:lnTo>
                  <a:lnTo>
                    <a:pt x="17135" y="63134"/>
                  </a:lnTo>
                  <a:lnTo>
                    <a:pt x="16949" y="62886"/>
                  </a:lnTo>
                  <a:lnTo>
                    <a:pt x="16762" y="62638"/>
                  </a:lnTo>
                  <a:lnTo>
                    <a:pt x="16576" y="62327"/>
                  </a:lnTo>
                  <a:lnTo>
                    <a:pt x="16452" y="62017"/>
                  </a:lnTo>
                  <a:lnTo>
                    <a:pt x="16390" y="61582"/>
                  </a:lnTo>
                  <a:lnTo>
                    <a:pt x="16266" y="60651"/>
                  </a:lnTo>
                  <a:lnTo>
                    <a:pt x="16204" y="59410"/>
                  </a:lnTo>
                  <a:lnTo>
                    <a:pt x="16204" y="58354"/>
                  </a:lnTo>
                  <a:lnTo>
                    <a:pt x="16204" y="6146"/>
                  </a:lnTo>
                  <a:lnTo>
                    <a:pt x="16266" y="5587"/>
                  </a:lnTo>
                  <a:lnTo>
                    <a:pt x="16452" y="4470"/>
                  </a:lnTo>
                  <a:lnTo>
                    <a:pt x="16700" y="3539"/>
                  </a:lnTo>
                  <a:lnTo>
                    <a:pt x="17011" y="2794"/>
                  </a:lnTo>
                  <a:lnTo>
                    <a:pt x="17445" y="2173"/>
                  </a:lnTo>
                  <a:lnTo>
                    <a:pt x="18004" y="1676"/>
                  </a:lnTo>
                  <a:lnTo>
                    <a:pt x="18687" y="1117"/>
                  </a:lnTo>
                  <a:lnTo>
                    <a:pt x="19494" y="621"/>
                  </a:lnTo>
                  <a:lnTo>
                    <a:pt x="20487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12" name="Shape 212"/>
            <p:cNvSpPr/>
            <p:nvPr/>
          </p:nvSpPr>
          <p:spPr>
            <a:xfrm>
              <a:off x="8985007" y="5743946"/>
              <a:ext cx="1165482" cy="1712661"/>
            </a:xfrm>
            <a:custGeom>
              <a:avLst/>
              <a:gdLst/>
              <a:ahLst/>
              <a:cxnLst/>
              <a:rect l="0" t="0" r="0" b="0"/>
              <a:pathLst>
                <a:path w="30544" h="44884" extrusionOk="0">
                  <a:moveTo>
                    <a:pt x="18748" y="3105"/>
                  </a:moveTo>
                  <a:lnTo>
                    <a:pt x="19679" y="3167"/>
                  </a:lnTo>
                  <a:lnTo>
                    <a:pt x="20549" y="3291"/>
                  </a:lnTo>
                  <a:lnTo>
                    <a:pt x="21480" y="3539"/>
                  </a:lnTo>
                  <a:lnTo>
                    <a:pt x="22287" y="3788"/>
                  </a:lnTo>
                  <a:lnTo>
                    <a:pt x="23094" y="4222"/>
                  </a:lnTo>
                  <a:lnTo>
                    <a:pt x="23839" y="4657"/>
                  </a:lnTo>
                  <a:lnTo>
                    <a:pt x="24584" y="5153"/>
                  </a:lnTo>
                  <a:lnTo>
                    <a:pt x="25267" y="5712"/>
                  </a:lnTo>
                  <a:lnTo>
                    <a:pt x="25825" y="6271"/>
                  </a:lnTo>
                  <a:lnTo>
                    <a:pt x="26384" y="6954"/>
                  </a:lnTo>
                  <a:lnTo>
                    <a:pt x="26819" y="7574"/>
                  </a:lnTo>
                  <a:lnTo>
                    <a:pt x="27253" y="8257"/>
                  </a:lnTo>
                  <a:lnTo>
                    <a:pt x="27564" y="9002"/>
                  </a:lnTo>
                  <a:lnTo>
                    <a:pt x="27750" y="9685"/>
                  </a:lnTo>
                  <a:lnTo>
                    <a:pt x="27936" y="10430"/>
                  </a:lnTo>
                  <a:lnTo>
                    <a:pt x="27998" y="11113"/>
                  </a:lnTo>
                  <a:lnTo>
                    <a:pt x="27936" y="11547"/>
                  </a:lnTo>
                  <a:lnTo>
                    <a:pt x="27812" y="11982"/>
                  </a:lnTo>
                  <a:lnTo>
                    <a:pt x="27564" y="12292"/>
                  </a:lnTo>
                  <a:lnTo>
                    <a:pt x="27253" y="12603"/>
                  </a:lnTo>
                  <a:lnTo>
                    <a:pt x="26881" y="12913"/>
                  </a:lnTo>
                  <a:lnTo>
                    <a:pt x="26446" y="13161"/>
                  </a:lnTo>
                  <a:lnTo>
                    <a:pt x="25267" y="13658"/>
                  </a:lnTo>
                  <a:lnTo>
                    <a:pt x="8319" y="20983"/>
                  </a:lnTo>
                  <a:lnTo>
                    <a:pt x="8133" y="18500"/>
                  </a:lnTo>
                  <a:lnTo>
                    <a:pt x="8009" y="17259"/>
                  </a:lnTo>
                  <a:lnTo>
                    <a:pt x="8009" y="16079"/>
                  </a:lnTo>
                  <a:lnTo>
                    <a:pt x="8009" y="15148"/>
                  </a:lnTo>
                  <a:lnTo>
                    <a:pt x="8071" y="14279"/>
                  </a:lnTo>
                  <a:lnTo>
                    <a:pt x="8195" y="13410"/>
                  </a:lnTo>
                  <a:lnTo>
                    <a:pt x="8319" y="12603"/>
                  </a:lnTo>
                  <a:lnTo>
                    <a:pt x="8505" y="11858"/>
                  </a:lnTo>
                  <a:lnTo>
                    <a:pt x="8691" y="11113"/>
                  </a:lnTo>
                  <a:lnTo>
                    <a:pt x="8878" y="10430"/>
                  </a:lnTo>
                  <a:lnTo>
                    <a:pt x="9188" y="9809"/>
                  </a:lnTo>
                  <a:lnTo>
                    <a:pt x="9436" y="9188"/>
                  </a:lnTo>
                  <a:lnTo>
                    <a:pt x="9747" y="8568"/>
                  </a:lnTo>
                  <a:lnTo>
                    <a:pt x="10430" y="7512"/>
                  </a:lnTo>
                  <a:lnTo>
                    <a:pt x="11175" y="6581"/>
                  </a:lnTo>
                  <a:lnTo>
                    <a:pt x="11982" y="5774"/>
                  </a:lnTo>
                  <a:lnTo>
                    <a:pt x="12789" y="5091"/>
                  </a:lnTo>
                  <a:lnTo>
                    <a:pt x="13720" y="4532"/>
                  </a:lnTo>
                  <a:lnTo>
                    <a:pt x="14589" y="4098"/>
                  </a:lnTo>
                  <a:lnTo>
                    <a:pt x="15458" y="3725"/>
                  </a:lnTo>
                  <a:lnTo>
                    <a:pt x="16327" y="3415"/>
                  </a:lnTo>
                  <a:lnTo>
                    <a:pt x="17196" y="3229"/>
                  </a:lnTo>
                  <a:lnTo>
                    <a:pt x="18003" y="3105"/>
                  </a:lnTo>
                  <a:close/>
                  <a:moveTo>
                    <a:pt x="21356" y="1"/>
                  </a:moveTo>
                  <a:lnTo>
                    <a:pt x="20424" y="63"/>
                  </a:lnTo>
                  <a:lnTo>
                    <a:pt x="19493" y="125"/>
                  </a:lnTo>
                  <a:lnTo>
                    <a:pt x="18624" y="187"/>
                  </a:lnTo>
                  <a:lnTo>
                    <a:pt x="17693" y="373"/>
                  </a:lnTo>
                  <a:lnTo>
                    <a:pt x="16762" y="559"/>
                  </a:lnTo>
                  <a:lnTo>
                    <a:pt x="15831" y="746"/>
                  </a:lnTo>
                  <a:lnTo>
                    <a:pt x="14899" y="1056"/>
                  </a:lnTo>
                  <a:lnTo>
                    <a:pt x="13968" y="1366"/>
                  </a:lnTo>
                  <a:lnTo>
                    <a:pt x="13037" y="1677"/>
                  </a:lnTo>
                  <a:lnTo>
                    <a:pt x="12106" y="2111"/>
                  </a:lnTo>
                  <a:lnTo>
                    <a:pt x="11237" y="2546"/>
                  </a:lnTo>
                  <a:lnTo>
                    <a:pt x="10368" y="3043"/>
                  </a:lnTo>
                  <a:lnTo>
                    <a:pt x="9498" y="3539"/>
                  </a:lnTo>
                  <a:lnTo>
                    <a:pt x="8691" y="4098"/>
                  </a:lnTo>
                  <a:lnTo>
                    <a:pt x="7884" y="4719"/>
                  </a:lnTo>
                  <a:lnTo>
                    <a:pt x="7077" y="5339"/>
                  </a:lnTo>
                  <a:lnTo>
                    <a:pt x="6332" y="6084"/>
                  </a:lnTo>
                  <a:lnTo>
                    <a:pt x="5588" y="6767"/>
                  </a:lnTo>
                  <a:lnTo>
                    <a:pt x="4905" y="7574"/>
                  </a:lnTo>
                  <a:lnTo>
                    <a:pt x="4222" y="8381"/>
                  </a:lnTo>
                  <a:lnTo>
                    <a:pt x="3601" y="9250"/>
                  </a:lnTo>
                  <a:lnTo>
                    <a:pt x="2980" y="10182"/>
                  </a:lnTo>
                  <a:lnTo>
                    <a:pt x="2484" y="11113"/>
                  </a:lnTo>
                  <a:lnTo>
                    <a:pt x="1987" y="12106"/>
                  </a:lnTo>
                  <a:lnTo>
                    <a:pt x="1552" y="13099"/>
                  </a:lnTo>
                  <a:lnTo>
                    <a:pt x="1118" y="14217"/>
                  </a:lnTo>
                  <a:lnTo>
                    <a:pt x="807" y="15334"/>
                  </a:lnTo>
                  <a:lnTo>
                    <a:pt x="497" y="16452"/>
                  </a:lnTo>
                  <a:lnTo>
                    <a:pt x="311" y="17693"/>
                  </a:lnTo>
                  <a:lnTo>
                    <a:pt x="125" y="18935"/>
                  </a:lnTo>
                  <a:lnTo>
                    <a:pt x="0" y="20238"/>
                  </a:lnTo>
                  <a:lnTo>
                    <a:pt x="0" y="21542"/>
                  </a:lnTo>
                  <a:lnTo>
                    <a:pt x="0" y="22908"/>
                  </a:lnTo>
                  <a:lnTo>
                    <a:pt x="125" y="24211"/>
                  </a:lnTo>
                  <a:lnTo>
                    <a:pt x="311" y="25577"/>
                  </a:lnTo>
                  <a:lnTo>
                    <a:pt x="559" y="26943"/>
                  </a:lnTo>
                  <a:lnTo>
                    <a:pt x="870" y="28309"/>
                  </a:lnTo>
                  <a:lnTo>
                    <a:pt x="1242" y="29612"/>
                  </a:lnTo>
                  <a:lnTo>
                    <a:pt x="1739" y="30978"/>
                  </a:lnTo>
                  <a:lnTo>
                    <a:pt x="2235" y="32282"/>
                  </a:lnTo>
                  <a:lnTo>
                    <a:pt x="2856" y="33585"/>
                  </a:lnTo>
                  <a:lnTo>
                    <a:pt x="3601" y="34827"/>
                  </a:lnTo>
                  <a:lnTo>
                    <a:pt x="4346" y="36006"/>
                  </a:lnTo>
                  <a:lnTo>
                    <a:pt x="5215" y="37186"/>
                  </a:lnTo>
                  <a:lnTo>
                    <a:pt x="6146" y="38303"/>
                  </a:lnTo>
                  <a:lnTo>
                    <a:pt x="7202" y="39359"/>
                  </a:lnTo>
                  <a:lnTo>
                    <a:pt x="8319" y="40352"/>
                  </a:lnTo>
                  <a:lnTo>
                    <a:pt x="9498" y="41221"/>
                  </a:lnTo>
                  <a:lnTo>
                    <a:pt x="10368" y="41842"/>
                  </a:lnTo>
                  <a:lnTo>
                    <a:pt x="11299" y="42401"/>
                  </a:lnTo>
                  <a:lnTo>
                    <a:pt x="12168" y="42835"/>
                  </a:lnTo>
                  <a:lnTo>
                    <a:pt x="13037" y="43270"/>
                  </a:lnTo>
                  <a:lnTo>
                    <a:pt x="13906" y="43580"/>
                  </a:lnTo>
                  <a:lnTo>
                    <a:pt x="14713" y="43891"/>
                  </a:lnTo>
                  <a:lnTo>
                    <a:pt x="15582" y="44139"/>
                  </a:lnTo>
                  <a:lnTo>
                    <a:pt x="16389" y="44325"/>
                  </a:lnTo>
                  <a:lnTo>
                    <a:pt x="17941" y="44635"/>
                  </a:lnTo>
                  <a:lnTo>
                    <a:pt x="19369" y="44822"/>
                  </a:lnTo>
                  <a:lnTo>
                    <a:pt x="20735" y="44884"/>
                  </a:lnTo>
                  <a:lnTo>
                    <a:pt x="22908" y="44884"/>
                  </a:lnTo>
                  <a:lnTo>
                    <a:pt x="23963" y="44822"/>
                  </a:lnTo>
                  <a:lnTo>
                    <a:pt x="25018" y="44698"/>
                  </a:lnTo>
                  <a:lnTo>
                    <a:pt x="26136" y="44573"/>
                  </a:lnTo>
                  <a:lnTo>
                    <a:pt x="27191" y="44325"/>
                  </a:lnTo>
                  <a:lnTo>
                    <a:pt x="28308" y="44077"/>
                  </a:lnTo>
                  <a:lnTo>
                    <a:pt x="29426" y="43704"/>
                  </a:lnTo>
                  <a:lnTo>
                    <a:pt x="30543" y="43270"/>
                  </a:lnTo>
                  <a:lnTo>
                    <a:pt x="30543" y="39793"/>
                  </a:lnTo>
                  <a:lnTo>
                    <a:pt x="29115" y="39980"/>
                  </a:lnTo>
                  <a:lnTo>
                    <a:pt x="27564" y="40042"/>
                  </a:lnTo>
                  <a:lnTo>
                    <a:pt x="26756" y="39980"/>
                  </a:lnTo>
                  <a:lnTo>
                    <a:pt x="25949" y="39917"/>
                  </a:lnTo>
                  <a:lnTo>
                    <a:pt x="25142" y="39855"/>
                  </a:lnTo>
                  <a:lnTo>
                    <a:pt x="24335" y="39731"/>
                  </a:lnTo>
                  <a:lnTo>
                    <a:pt x="23528" y="39545"/>
                  </a:lnTo>
                  <a:lnTo>
                    <a:pt x="22721" y="39297"/>
                  </a:lnTo>
                  <a:lnTo>
                    <a:pt x="21976" y="39048"/>
                  </a:lnTo>
                  <a:lnTo>
                    <a:pt x="21169" y="38738"/>
                  </a:lnTo>
                  <a:lnTo>
                    <a:pt x="20424" y="38428"/>
                  </a:lnTo>
                  <a:lnTo>
                    <a:pt x="19679" y="38055"/>
                  </a:lnTo>
                  <a:lnTo>
                    <a:pt x="18935" y="37683"/>
                  </a:lnTo>
                  <a:lnTo>
                    <a:pt x="18252" y="37186"/>
                  </a:lnTo>
                  <a:lnTo>
                    <a:pt x="17507" y="36751"/>
                  </a:lnTo>
                  <a:lnTo>
                    <a:pt x="16824" y="36255"/>
                  </a:lnTo>
                  <a:lnTo>
                    <a:pt x="16203" y="35696"/>
                  </a:lnTo>
                  <a:lnTo>
                    <a:pt x="15520" y="35075"/>
                  </a:lnTo>
                  <a:lnTo>
                    <a:pt x="14899" y="34455"/>
                  </a:lnTo>
                  <a:lnTo>
                    <a:pt x="14279" y="33834"/>
                  </a:lnTo>
                  <a:lnTo>
                    <a:pt x="13720" y="33151"/>
                  </a:lnTo>
                  <a:lnTo>
                    <a:pt x="13161" y="32406"/>
                  </a:lnTo>
                  <a:lnTo>
                    <a:pt x="12602" y="31661"/>
                  </a:lnTo>
                  <a:lnTo>
                    <a:pt x="12106" y="30854"/>
                  </a:lnTo>
                  <a:lnTo>
                    <a:pt x="11609" y="30047"/>
                  </a:lnTo>
                  <a:lnTo>
                    <a:pt x="11113" y="29178"/>
                  </a:lnTo>
                  <a:lnTo>
                    <a:pt x="10678" y="28309"/>
                  </a:lnTo>
                  <a:lnTo>
                    <a:pt x="10243" y="27378"/>
                  </a:lnTo>
                  <a:lnTo>
                    <a:pt x="9871" y="26446"/>
                  </a:lnTo>
                  <a:lnTo>
                    <a:pt x="9498" y="25453"/>
                  </a:lnTo>
                  <a:lnTo>
                    <a:pt x="9188" y="24460"/>
                  </a:lnTo>
                  <a:lnTo>
                    <a:pt x="8878" y="23467"/>
                  </a:lnTo>
                  <a:lnTo>
                    <a:pt x="8629" y="22349"/>
                  </a:lnTo>
                  <a:lnTo>
                    <a:pt x="8381" y="21294"/>
                  </a:lnTo>
                  <a:lnTo>
                    <a:pt x="15582" y="20735"/>
                  </a:lnTo>
                  <a:lnTo>
                    <a:pt x="30543" y="14651"/>
                  </a:lnTo>
                  <a:lnTo>
                    <a:pt x="30543" y="2360"/>
                  </a:lnTo>
                  <a:lnTo>
                    <a:pt x="29488" y="1801"/>
                  </a:lnTo>
                  <a:lnTo>
                    <a:pt x="28371" y="1304"/>
                  </a:lnTo>
                  <a:lnTo>
                    <a:pt x="27253" y="932"/>
                  </a:lnTo>
                  <a:lnTo>
                    <a:pt x="26136" y="621"/>
                  </a:lnTo>
                  <a:lnTo>
                    <a:pt x="24956" y="311"/>
                  </a:lnTo>
                  <a:lnTo>
                    <a:pt x="23715" y="187"/>
                  </a:lnTo>
                  <a:lnTo>
                    <a:pt x="22535" y="63"/>
                  </a:lnTo>
                  <a:lnTo>
                    <a:pt x="21356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sp>
        <p:nvSpPr>
          <p:cNvPr id="213" name="Shape 213"/>
          <p:cNvSpPr/>
          <p:nvPr/>
        </p:nvSpPr>
        <p:spPr>
          <a:xfrm>
            <a:off x="5788151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4E71727-864C-4C6B-B7DA-302C0E45AF1D}" type="datetimeFigureOut">
              <a:rPr lang="en-US" smtClean="0"/>
              <a:pPr/>
              <a:t>4/1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744E918-4A73-4BF4-B82A-8E0610C252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1640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>
  <p:cSld name="title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Shape 221"/>
          <p:cNvSpPr/>
          <p:nvPr/>
        </p:nvSpPr>
        <p:spPr>
          <a:xfrm>
            <a:off x="0" y="6066971"/>
            <a:ext cx="9144000" cy="79102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222" name="Shape 222"/>
          <p:cNvSpPr txBox="1">
            <a:spLocks noGrp="1"/>
          </p:cNvSpPr>
          <p:nvPr>
            <p:ph type="subTitle" idx="1"/>
          </p:nvPr>
        </p:nvSpPr>
        <p:spPr>
          <a:xfrm>
            <a:off x="533400" y="4958887"/>
            <a:ext cx="8077199" cy="3524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90"/>
              </a:spcAft>
              <a:defRPr sz="1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30188" marR="0" indent="-153988" algn="l" rtl="0">
              <a:lnSpc>
                <a:spcPct val="95000"/>
              </a:lnSpc>
              <a:spcBef>
                <a:spcPts val="900"/>
              </a:spcBef>
              <a:spcAft>
                <a:spcPts val="10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58788" marR="0" indent="-160337" algn="l" rtl="0">
              <a:lnSpc>
                <a:spcPct val="95000"/>
              </a:lnSpc>
              <a:spcBef>
                <a:spcPts val="810"/>
              </a:spcBef>
              <a:spcAft>
                <a:spcPts val="90"/>
              </a:spcAft>
              <a:buClr>
                <a:schemeClr val="dk1"/>
              </a:buClr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842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9128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3700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8272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2844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16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3" name="Shape 223"/>
          <p:cNvSpPr txBox="1">
            <a:spLocks noGrp="1"/>
          </p:cNvSpPr>
          <p:nvPr>
            <p:ph type="ctrTitle"/>
          </p:nvPr>
        </p:nvSpPr>
        <p:spPr>
          <a:xfrm>
            <a:off x="533400" y="4455651"/>
            <a:ext cx="8077199" cy="5032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224" name="Shape 224"/>
          <p:cNvGrpSpPr/>
          <p:nvPr/>
        </p:nvGrpSpPr>
        <p:grpSpPr>
          <a:xfrm>
            <a:off x="2653550" y="1264557"/>
            <a:ext cx="1657189" cy="2051504"/>
            <a:chOff x="1823064" y="1771343"/>
            <a:chExt cx="1767657" cy="2188258"/>
          </a:xfrm>
        </p:grpSpPr>
        <p:sp>
          <p:nvSpPr>
            <p:cNvPr id="225" name="Shape 225"/>
            <p:cNvSpPr/>
            <p:nvPr/>
          </p:nvSpPr>
          <p:spPr>
            <a:xfrm>
              <a:off x="2713524" y="3768248"/>
              <a:ext cx="240613" cy="191354"/>
            </a:xfrm>
            <a:custGeom>
              <a:avLst/>
              <a:gdLst/>
              <a:ahLst/>
              <a:cxnLst/>
              <a:rect l="0" t="0" r="0" b="0"/>
              <a:pathLst>
                <a:path w="54" h="43" extrusionOk="0">
                  <a:moveTo>
                    <a:pt x="48" y="41"/>
                  </a:moveTo>
                  <a:cubicBezTo>
                    <a:pt x="48" y="42"/>
                    <a:pt x="47" y="43"/>
                    <a:pt x="46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7" y="43"/>
                    <a:pt x="7" y="42"/>
                    <a:pt x="7" y="4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4" y="1"/>
                    <a:pt x="54" y="2"/>
                  </a:cubicBezTo>
                  <a:lnTo>
                    <a:pt x="48" y="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26" name="Shape 226"/>
            <p:cNvSpPr/>
            <p:nvPr/>
          </p:nvSpPr>
          <p:spPr>
            <a:xfrm>
              <a:off x="2700261" y="3508689"/>
              <a:ext cx="272822" cy="295556"/>
            </a:xfrm>
            <a:custGeom>
              <a:avLst/>
              <a:gdLst/>
              <a:ahLst/>
              <a:cxnLst/>
              <a:rect l="0" t="0" r="0" b="0"/>
              <a:pathLst>
                <a:path w="144" h="156" extrusionOk="0">
                  <a:moveTo>
                    <a:pt x="0" y="0"/>
                  </a:moveTo>
                  <a:lnTo>
                    <a:pt x="28" y="156"/>
                  </a:lnTo>
                  <a:moveTo>
                    <a:pt x="144" y="0"/>
                  </a:moveTo>
                  <a:lnTo>
                    <a:pt x="113" y="156"/>
                  </a:lnTo>
                  <a:moveTo>
                    <a:pt x="71" y="0"/>
                  </a:moveTo>
                  <a:lnTo>
                    <a:pt x="71" y="156"/>
                  </a:lnTo>
                </a:path>
              </a:pathLst>
            </a:custGeom>
            <a:solidFill>
              <a:schemeClr val="accent4"/>
            </a:solidFill>
            <a:ln w="9525" cap="flat">
              <a:solidFill>
                <a:srgbClr val="ED174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27" name="Shape 227"/>
            <p:cNvSpPr/>
            <p:nvPr/>
          </p:nvSpPr>
          <p:spPr>
            <a:xfrm>
              <a:off x="2220928" y="2049850"/>
              <a:ext cx="1225804" cy="1498625"/>
            </a:xfrm>
            <a:custGeom>
              <a:avLst/>
              <a:gdLst/>
              <a:ahLst/>
              <a:cxnLst/>
              <a:rect l="0" t="0" r="0" b="0"/>
              <a:pathLst>
                <a:path w="274" h="335" extrusionOk="0">
                  <a:moveTo>
                    <a:pt x="135" y="335"/>
                  </a:moveTo>
                  <a:cubicBezTo>
                    <a:pt x="105" y="335"/>
                    <a:pt x="105" y="335"/>
                    <a:pt x="105" y="335"/>
                  </a:cubicBezTo>
                  <a:cubicBezTo>
                    <a:pt x="92" y="335"/>
                    <a:pt x="88" y="323"/>
                    <a:pt x="88" y="312"/>
                  </a:cubicBezTo>
                  <a:cubicBezTo>
                    <a:pt x="88" y="253"/>
                    <a:pt x="0" y="224"/>
                    <a:pt x="0" y="137"/>
                  </a:cubicBezTo>
                  <a:cubicBezTo>
                    <a:pt x="0" y="61"/>
                    <a:pt x="61" y="0"/>
                    <a:pt x="137" y="0"/>
                  </a:cubicBezTo>
                  <a:cubicBezTo>
                    <a:pt x="213" y="0"/>
                    <a:pt x="274" y="61"/>
                    <a:pt x="274" y="137"/>
                  </a:cubicBezTo>
                  <a:cubicBezTo>
                    <a:pt x="274" y="224"/>
                    <a:pt x="186" y="253"/>
                    <a:pt x="186" y="312"/>
                  </a:cubicBezTo>
                  <a:cubicBezTo>
                    <a:pt x="186" y="323"/>
                    <a:pt x="183" y="335"/>
                    <a:pt x="169" y="335"/>
                  </a:cubicBezTo>
                  <a:cubicBezTo>
                    <a:pt x="153" y="335"/>
                    <a:pt x="153" y="335"/>
                    <a:pt x="153" y="335"/>
                  </a:cubicBezTo>
                  <a:lnTo>
                    <a:pt x="135" y="33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28" name="Shape 228"/>
            <p:cNvSpPr/>
            <p:nvPr/>
          </p:nvSpPr>
          <p:spPr>
            <a:xfrm>
              <a:off x="2467226" y="2246888"/>
              <a:ext cx="738892" cy="863935"/>
            </a:xfrm>
            <a:custGeom>
              <a:avLst/>
              <a:gdLst/>
              <a:ahLst/>
              <a:cxnLst/>
              <a:rect l="0" t="0" r="0" b="0"/>
              <a:pathLst>
                <a:path w="165" h="193" extrusionOk="0">
                  <a:moveTo>
                    <a:pt x="152" y="118"/>
                  </a:moveTo>
                  <a:cubicBezTo>
                    <a:pt x="152" y="123"/>
                    <a:pt x="150" y="126"/>
                    <a:pt x="145" y="126"/>
                  </a:cubicBezTo>
                  <a:cubicBezTo>
                    <a:pt x="140" y="126"/>
                    <a:pt x="138" y="123"/>
                    <a:pt x="138" y="118"/>
                  </a:cubicBezTo>
                  <a:cubicBezTo>
                    <a:pt x="138" y="113"/>
                    <a:pt x="140" y="111"/>
                    <a:pt x="145" y="111"/>
                  </a:cubicBezTo>
                  <a:cubicBezTo>
                    <a:pt x="150" y="111"/>
                    <a:pt x="152" y="113"/>
                    <a:pt x="152" y="118"/>
                  </a:cubicBezTo>
                  <a:moveTo>
                    <a:pt x="124" y="99"/>
                  </a:moveTo>
                  <a:cubicBezTo>
                    <a:pt x="120" y="96"/>
                    <a:pt x="116" y="92"/>
                    <a:pt x="112" y="89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101"/>
                    <a:pt x="112" y="105"/>
                    <a:pt x="112" y="110"/>
                  </a:cubicBezTo>
                  <a:cubicBezTo>
                    <a:pt x="116" y="106"/>
                    <a:pt x="120" y="103"/>
                    <a:pt x="124" y="99"/>
                  </a:cubicBezTo>
                  <a:moveTo>
                    <a:pt x="149" y="62"/>
                  </a:moveTo>
                  <a:cubicBezTo>
                    <a:pt x="149" y="55"/>
                    <a:pt x="144" y="52"/>
                    <a:pt x="134" y="52"/>
                  </a:cubicBezTo>
                  <a:cubicBezTo>
                    <a:pt x="127" y="52"/>
                    <a:pt x="119" y="53"/>
                    <a:pt x="109" y="57"/>
                  </a:cubicBezTo>
                  <a:cubicBezTo>
                    <a:pt x="111" y="66"/>
                    <a:pt x="111" y="75"/>
                    <a:pt x="112" y="85"/>
                  </a:cubicBezTo>
                  <a:cubicBezTo>
                    <a:pt x="117" y="89"/>
                    <a:pt x="122" y="92"/>
                    <a:pt x="127" y="96"/>
                  </a:cubicBezTo>
                  <a:cubicBezTo>
                    <a:pt x="142" y="82"/>
                    <a:pt x="149" y="71"/>
                    <a:pt x="149" y="62"/>
                  </a:cubicBezTo>
                  <a:moveTo>
                    <a:pt x="109" y="31"/>
                  </a:moveTo>
                  <a:cubicBezTo>
                    <a:pt x="109" y="37"/>
                    <a:pt x="106" y="39"/>
                    <a:pt x="101" y="39"/>
                  </a:cubicBezTo>
                  <a:cubicBezTo>
                    <a:pt x="96" y="39"/>
                    <a:pt x="94" y="37"/>
                    <a:pt x="94" y="31"/>
                  </a:cubicBezTo>
                  <a:cubicBezTo>
                    <a:pt x="94" y="26"/>
                    <a:pt x="96" y="23"/>
                    <a:pt x="101" y="23"/>
                  </a:cubicBezTo>
                  <a:cubicBezTo>
                    <a:pt x="106" y="23"/>
                    <a:pt x="109" y="26"/>
                    <a:pt x="109" y="31"/>
                  </a:cubicBezTo>
                  <a:moveTo>
                    <a:pt x="108" y="116"/>
                  </a:moveTo>
                  <a:cubicBezTo>
                    <a:pt x="101" y="121"/>
                    <a:pt x="93" y="126"/>
                    <a:pt x="85" y="131"/>
                  </a:cubicBezTo>
                  <a:cubicBezTo>
                    <a:pt x="92" y="134"/>
                    <a:pt x="99" y="137"/>
                    <a:pt x="105" y="139"/>
                  </a:cubicBezTo>
                  <a:cubicBezTo>
                    <a:pt x="106" y="132"/>
                    <a:pt x="108" y="124"/>
                    <a:pt x="108" y="116"/>
                  </a:cubicBezTo>
                  <a:moveTo>
                    <a:pt x="109" y="82"/>
                  </a:moveTo>
                  <a:cubicBezTo>
                    <a:pt x="108" y="74"/>
                    <a:pt x="107" y="66"/>
                    <a:pt x="106" y="58"/>
                  </a:cubicBezTo>
                  <a:cubicBezTo>
                    <a:pt x="99" y="61"/>
                    <a:pt x="92" y="64"/>
                    <a:pt x="85" y="67"/>
                  </a:cubicBezTo>
                  <a:cubicBezTo>
                    <a:pt x="93" y="72"/>
                    <a:pt x="101" y="77"/>
                    <a:pt x="109" y="82"/>
                  </a:cubicBezTo>
                  <a:moveTo>
                    <a:pt x="104" y="144"/>
                  </a:moveTo>
                  <a:cubicBezTo>
                    <a:pt x="97" y="140"/>
                    <a:pt x="90" y="137"/>
                    <a:pt x="82" y="132"/>
                  </a:cubicBezTo>
                  <a:cubicBezTo>
                    <a:pt x="76" y="136"/>
                    <a:pt x="69" y="139"/>
                    <a:pt x="63" y="143"/>
                  </a:cubicBezTo>
                  <a:cubicBezTo>
                    <a:pt x="68" y="163"/>
                    <a:pt x="75" y="174"/>
                    <a:pt x="84" y="174"/>
                  </a:cubicBezTo>
                  <a:cubicBezTo>
                    <a:pt x="92" y="174"/>
                    <a:pt x="99" y="164"/>
                    <a:pt x="104" y="144"/>
                  </a:cubicBezTo>
                  <a:moveTo>
                    <a:pt x="79" y="131"/>
                  </a:moveTo>
                  <a:cubicBezTo>
                    <a:pt x="72" y="127"/>
                    <a:pt x="65" y="122"/>
                    <a:pt x="59" y="118"/>
                  </a:cubicBezTo>
                  <a:cubicBezTo>
                    <a:pt x="60" y="125"/>
                    <a:pt x="61" y="132"/>
                    <a:pt x="62" y="139"/>
                  </a:cubicBezTo>
                  <a:cubicBezTo>
                    <a:pt x="68" y="136"/>
                    <a:pt x="73" y="134"/>
                    <a:pt x="79" y="131"/>
                  </a:cubicBezTo>
                  <a:moveTo>
                    <a:pt x="79" y="67"/>
                  </a:moveTo>
                  <a:cubicBezTo>
                    <a:pt x="73" y="64"/>
                    <a:pt x="67" y="61"/>
                    <a:pt x="61" y="59"/>
                  </a:cubicBezTo>
                  <a:cubicBezTo>
                    <a:pt x="60" y="66"/>
                    <a:pt x="59" y="73"/>
                    <a:pt x="58" y="81"/>
                  </a:cubicBezTo>
                  <a:cubicBezTo>
                    <a:pt x="65" y="76"/>
                    <a:pt x="72" y="72"/>
                    <a:pt x="79" y="67"/>
                  </a:cubicBezTo>
                  <a:moveTo>
                    <a:pt x="109" y="96"/>
                  </a:moveTo>
                  <a:cubicBezTo>
                    <a:pt x="109" y="93"/>
                    <a:pt x="109" y="90"/>
                    <a:pt x="109" y="86"/>
                  </a:cubicBezTo>
                  <a:cubicBezTo>
                    <a:pt x="100" y="80"/>
                    <a:pt x="92" y="74"/>
                    <a:pt x="82" y="69"/>
                  </a:cubicBezTo>
                  <a:cubicBezTo>
                    <a:pt x="74" y="74"/>
                    <a:pt x="66" y="79"/>
                    <a:pt x="58" y="85"/>
                  </a:cubicBezTo>
                  <a:cubicBezTo>
                    <a:pt x="58" y="88"/>
                    <a:pt x="58" y="92"/>
                    <a:pt x="58" y="96"/>
                  </a:cubicBezTo>
                  <a:cubicBezTo>
                    <a:pt x="58" y="102"/>
                    <a:pt x="58" y="108"/>
                    <a:pt x="59" y="114"/>
                  </a:cubicBezTo>
                  <a:cubicBezTo>
                    <a:pt x="66" y="119"/>
                    <a:pt x="74" y="124"/>
                    <a:pt x="82" y="129"/>
                  </a:cubicBezTo>
                  <a:cubicBezTo>
                    <a:pt x="91" y="124"/>
                    <a:pt x="100" y="118"/>
                    <a:pt x="109" y="112"/>
                  </a:cubicBezTo>
                  <a:cubicBezTo>
                    <a:pt x="109" y="107"/>
                    <a:pt x="109" y="102"/>
                    <a:pt x="109" y="96"/>
                  </a:cubicBezTo>
                  <a:moveTo>
                    <a:pt x="55" y="111"/>
                  </a:moveTo>
                  <a:cubicBezTo>
                    <a:pt x="55" y="106"/>
                    <a:pt x="55" y="101"/>
                    <a:pt x="55" y="96"/>
                  </a:cubicBezTo>
                  <a:cubicBezTo>
                    <a:pt x="55" y="93"/>
                    <a:pt x="55" y="90"/>
                    <a:pt x="55" y="87"/>
                  </a:cubicBezTo>
                  <a:cubicBezTo>
                    <a:pt x="50" y="91"/>
                    <a:pt x="45" y="95"/>
                    <a:pt x="40" y="99"/>
                  </a:cubicBezTo>
                  <a:cubicBezTo>
                    <a:pt x="45" y="103"/>
                    <a:pt x="50" y="107"/>
                    <a:pt x="55" y="111"/>
                  </a:cubicBezTo>
                  <a:moveTo>
                    <a:pt x="57" y="58"/>
                  </a:moveTo>
                  <a:cubicBezTo>
                    <a:pt x="47" y="54"/>
                    <a:pt x="38" y="52"/>
                    <a:pt x="31" y="52"/>
                  </a:cubicBezTo>
                  <a:cubicBezTo>
                    <a:pt x="21" y="52"/>
                    <a:pt x="16" y="55"/>
                    <a:pt x="16" y="62"/>
                  </a:cubicBezTo>
                  <a:cubicBezTo>
                    <a:pt x="16" y="71"/>
                    <a:pt x="23" y="82"/>
                    <a:pt x="38" y="96"/>
                  </a:cubicBezTo>
                  <a:cubicBezTo>
                    <a:pt x="43" y="92"/>
                    <a:pt x="49" y="87"/>
                    <a:pt x="55" y="83"/>
                  </a:cubicBezTo>
                  <a:cubicBezTo>
                    <a:pt x="56" y="74"/>
                    <a:pt x="56" y="66"/>
                    <a:pt x="57" y="58"/>
                  </a:cubicBezTo>
                  <a:moveTo>
                    <a:pt x="27" y="119"/>
                  </a:moveTo>
                  <a:cubicBezTo>
                    <a:pt x="27" y="125"/>
                    <a:pt x="24" y="128"/>
                    <a:pt x="19" y="128"/>
                  </a:cubicBezTo>
                  <a:cubicBezTo>
                    <a:pt x="13" y="128"/>
                    <a:pt x="10" y="125"/>
                    <a:pt x="10" y="119"/>
                  </a:cubicBezTo>
                  <a:cubicBezTo>
                    <a:pt x="10" y="114"/>
                    <a:pt x="13" y="111"/>
                    <a:pt x="19" y="111"/>
                  </a:cubicBezTo>
                  <a:cubicBezTo>
                    <a:pt x="24" y="111"/>
                    <a:pt x="27" y="114"/>
                    <a:pt x="27" y="119"/>
                  </a:cubicBezTo>
                  <a:moveTo>
                    <a:pt x="165" y="146"/>
                  </a:moveTo>
                  <a:cubicBezTo>
                    <a:pt x="165" y="153"/>
                    <a:pt x="160" y="157"/>
                    <a:pt x="150" y="157"/>
                  </a:cubicBezTo>
                  <a:cubicBezTo>
                    <a:pt x="139" y="157"/>
                    <a:pt x="125" y="153"/>
                    <a:pt x="108" y="145"/>
                  </a:cubicBezTo>
                  <a:cubicBezTo>
                    <a:pt x="103" y="177"/>
                    <a:pt x="94" y="193"/>
                    <a:pt x="84" y="193"/>
                  </a:cubicBezTo>
                  <a:cubicBezTo>
                    <a:pt x="77" y="193"/>
                    <a:pt x="71" y="186"/>
                    <a:pt x="66" y="173"/>
                  </a:cubicBezTo>
                  <a:cubicBezTo>
                    <a:pt x="63" y="164"/>
                    <a:pt x="61" y="155"/>
                    <a:pt x="59" y="144"/>
                  </a:cubicBezTo>
                  <a:cubicBezTo>
                    <a:pt x="40" y="153"/>
                    <a:pt x="26" y="157"/>
                    <a:pt x="15" y="157"/>
                  </a:cubicBezTo>
                  <a:cubicBezTo>
                    <a:pt x="5" y="157"/>
                    <a:pt x="0" y="153"/>
                    <a:pt x="0" y="146"/>
                  </a:cubicBezTo>
                  <a:cubicBezTo>
                    <a:pt x="0" y="142"/>
                    <a:pt x="2" y="137"/>
                    <a:pt x="5" y="131"/>
                  </a:cubicBezTo>
                  <a:cubicBezTo>
                    <a:pt x="7" y="129"/>
                    <a:pt x="9" y="129"/>
                    <a:pt x="10" y="129"/>
                  </a:cubicBezTo>
                  <a:cubicBezTo>
                    <a:pt x="13" y="129"/>
                    <a:pt x="15" y="130"/>
                    <a:pt x="16" y="133"/>
                  </a:cubicBezTo>
                  <a:cubicBezTo>
                    <a:pt x="15" y="142"/>
                    <a:pt x="20" y="146"/>
                    <a:pt x="31" y="146"/>
                  </a:cubicBezTo>
                  <a:cubicBezTo>
                    <a:pt x="38" y="146"/>
                    <a:pt x="47" y="144"/>
                    <a:pt x="58" y="140"/>
                  </a:cubicBezTo>
                  <a:cubicBezTo>
                    <a:pt x="57" y="132"/>
                    <a:pt x="56" y="124"/>
                    <a:pt x="56" y="115"/>
                  </a:cubicBezTo>
                  <a:cubicBezTo>
                    <a:pt x="49" y="111"/>
                    <a:pt x="43" y="106"/>
                    <a:pt x="38" y="102"/>
                  </a:cubicBezTo>
                  <a:cubicBezTo>
                    <a:pt x="35" y="105"/>
                    <a:pt x="31" y="108"/>
                    <a:pt x="27" y="113"/>
                  </a:cubicBezTo>
                  <a:cubicBezTo>
                    <a:pt x="26" y="111"/>
                    <a:pt x="25" y="110"/>
                    <a:pt x="24" y="109"/>
                  </a:cubicBezTo>
                  <a:cubicBezTo>
                    <a:pt x="29" y="104"/>
                    <a:pt x="32" y="101"/>
                    <a:pt x="35" y="99"/>
                  </a:cubicBezTo>
                  <a:cubicBezTo>
                    <a:pt x="11" y="79"/>
                    <a:pt x="0" y="63"/>
                    <a:pt x="0" y="52"/>
                  </a:cubicBezTo>
                  <a:cubicBezTo>
                    <a:pt x="0" y="45"/>
                    <a:pt x="5" y="41"/>
                    <a:pt x="15" y="41"/>
                  </a:cubicBezTo>
                  <a:cubicBezTo>
                    <a:pt x="26" y="41"/>
                    <a:pt x="40" y="45"/>
                    <a:pt x="58" y="53"/>
                  </a:cubicBezTo>
                  <a:cubicBezTo>
                    <a:pt x="60" y="41"/>
                    <a:pt x="62" y="31"/>
                    <a:pt x="65" y="22"/>
                  </a:cubicBezTo>
                  <a:cubicBezTo>
                    <a:pt x="70" y="7"/>
                    <a:pt x="76" y="0"/>
                    <a:pt x="84" y="0"/>
                  </a:cubicBezTo>
                  <a:cubicBezTo>
                    <a:pt x="87" y="0"/>
                    <a:pt x="91" y="2"/>
                    <a:pt x="95" y="7"/>
                  </a:cubicBezTo>
                  <a:cubicBezTo>
                    <a:pt x="99" y="12"/>
                    <a:pt x="101" y="16"/>
                    <a:pt x="101" y="20"/>
                  </a:cubicBezTo>
                  <a:cubicBezTo>
                    <a:pt x="101" y="22"/>
                    <a:pt x="98" y="24"/>
                    <a:pt x="94" y="24"/>
                  </a:cubicBezTo>
                  <a:cubicBezTo>
                    <a:pt x="93" y="24"/>
                    <a:pt x="92" y="24"/>
                    <a:pt x="92" y="24"/>
                  </a:cubicBezTo>
                  <a:cubicBezTo>
                    <a:pt x="90" y="21"/>
                    <a:pt x="87" y="19"/>
                    <a:pt x="84" y="19"/>
                  </a:cubicBezTo>
                  <a:cubicBezTo>
                    <a:pt x="74" y="19"/>
                    <a:pt x="67" y="31"/>
                    <a:pt x="62" y="55"/>
                  </a:cubicBezTo>
                  <a:cubicBezTo>
                    <a:pt x="68" y="58"/>
                    <a:pt x="75" y="62"/>
                    <a:pt x="82" y="66"/>
                  </a:cubicBezTo>
                  <a:cubicBezTo>
                    <a:pt x="90" y="61"/>
                    <a:pt x="98" y="57"/>
                    <a:pt x="105" y="54"/>
                  </a:cubicBezTo>
                  <a:cubicBezTo>
                    <a:pt x="103" y="48"/>
                    <a:pt x="102" y="44"/>
                    <a:pt x="102" y="41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7" y="43"/>
                    <a:pt x="108" y="47"/>
                    <a:pt x="109" y="52"/>
                  </a:cubicBezTo>
                  <a:cubicBezTo>
                    <a:pt x="126" y="45"/>
                    <a:pt x="139" y="41"/>
                    <a:pt x="150" y="41"/>
                  </a:cubicBezTo>
                  <a:cubicBezTo>
                    <a:pt x="160" y="41"/>
                    <a:pt x="165" y="45"/>
                    <a:pt x="165" y="52"/>
                  </a:cubicBezTo>
                  <a:cubicBezTo>
                    <a:pt x="165" y="63"/>
                    <a:pt x="153" y="79"/>
                    <a:pt x="130" y="99"/>
                  </a:cubicBezTo>
                  <a:cubicBezTo>
                    <a:pt x="134" y="102"/>
                    <a:pt x="137" y="105"/>
                    <a:pt x="140" y="108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33" y="107"/>
                    <a:pt x="129" y="104"/>
                    <a:pt x="127" y="102"/>
                  </a:cubicBezTo>
                  <a:cubicBezTo>
                    <a:pt x="122" y="106"/>
                    <a:pt x="117" y="110"/>
                    <a:pt x="111" y="114"/>
                  </a:cubicBezTo>
                  <a:cubicBezTo>
                    <a:pt x="111" y="123"/>
                    <a:pt x="110" y="132"/>
                    <a:pt x="109" y="141"/>
                  </a:cubicBezTo>
                  <a:cubicBezTo>
                    <a:pt x="119" y="145"/>
                    <a:pt x="127" y="146"/>
                    <a:pt x="134" y="146"/>
                  </a:cubicBezTo>
                  <a:cubicBezTo>
                    <a:pt x="140" y="146"/>
                    <a:pt x="145" y="145"/>
                    <a:pt x="147" y="141"/>
                  </a:cubicBezTo>
                  <a:cubicBezTo>
                    <a:pt x="149" y="138"/>
                    <a:pt x="149" y="134"/>
                    <a:pt x="147" y="129"/>
                  </a:cubicBezTo>
                  <a:cubicBezTo>
                    <a:pt x="149" y="125"/>
                    <a:pt x="151" y="123"/>
                    <a:pt x="152" y="123"/>
                  </a:cubicBezTo>
                  <a:cubicBezTo>
                    <a:pt x="153" y="123"/>
                    <a:pt x="154" y="123"/>
                    <a:pt x="154" y="124"/>
                  </a:cubicBezTo>
                  <a:cubicBezTo>
                    <a:pt x="161" y="133"/>
                    <a:pt x="165" y="140"/>
                    <a:pt x="165" y="1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29" name="Shape 229"/>
            <p:cNvSpPr/>
            <p:nvPr/>
          </p:nvSpPr>
          <p:spPr>
            <a:xfrm>
              <a:off x="3302742" y="1771343"/>
              <a:ext cx="287979" cy="278505"/>
            </a:xfrm>
            <a:custGeom>
              <a:avLst/>
              <a:gdLst/>
              <a:ahLst/>
              <a:cxnLst/>
              <a:rect l="0" t="0" r="0" b="0"/>
              <a:pathLst>
                <a:path w="152" h="147" extrusionOk="0">
                  <a:moveTo>
                    <a:pt x="121" y="147"/>
                  </a:moveTo>
                  <a:lnTo>
                    <a:pt x="74" y="109"/>
                  </a:lnTo>
                  <a:lnTo>
                    <a:pt x="26" y="142"/>
                  </a:lnTo>
                  <a:lnTo>
                    <a:pt x="48" y="88"/>
                  </a:lnTo>
                  <a:lnTo>
                    <a:pt x="0" y="52"/>
                  </a:lnTo>
                  <a:lnTo>
                    <a:pt x="59" y="55"/>
                  </a:lnTo>
                  <a:lnTo>
                    <a:pt x="81" y="0"/>
                  </a:lnTo>
                  <a:lnTo>
                    <a:pt x="95" y="57"/>
                  </a:lnTo>
                  <a:lnTo>
                    <a:pt x="152" y="59"/>
                  </a:lnTo>
                  <a:lnTo>
                    <a:pt x="104" y="92"/>
                  </a:lnTo>
                  <a:lnTo>
                    <a:pt x="121" y="14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30" name="Shape 230"/>
            <p:cNvSpPr/>
            <p:nvPr/>
          </p:nvSpPr>
          <p:spPr>
            <a:xfrm>
              <a:off x="1823064" y="2542444"/>
              <a:ext cx="286084" cy="272822"/>
            </a:xfrm>
            <a:custGeom>
              <a:avLst/>
              <a:gdLst/>
              <a:ahLst/>
              <a:cxnLst/>
              <a:rect l="0" t="0" r="0" b="0"/>
              <a:pathLst>
                <a:path w="151" h="144" extrusionOk="0">
                  <a:moveTo>
                    <a:pt x="118" y="144"/>
                  </a:moveTo>
                  <a:lnTo>
                    <a:pt x="73" y="108"/>
                  </a:lnTo>
                  <a:lnTo>
                    <a:pt x="24" y="139"/>
                  </a:lnTo>
                  <a:lnTo>
                    <a:pt x="45" y="87"/>
                  </a:lnTo>
                  <a:lnTo>
                    <a:pt x="0" y="49"/>
                  </a:lnTo>
                  <a:lnTo>
                    <a:pt x="57" y="52"/>
                  </a:lnTo>
                  <a:lnTo>
                    <a:pt x="78" y="0"/>
                  </a:lnTo>
                  <a:lnTo>
                    <a:pt x="94" y="54"/>
                  </a:lnTo>
                  <a:lnTo>
                    <a:pt x="151" y="56"/>
                  </a:lnTo>
                  <a:lnTo>
                    <a:pt x="101" y="89"/>
                  </a:lnTo>
                  <a:lnTo>
                    <a:pt x="118" y="1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31" name="Shape 231"/>
            <p:cNvSpPr/>
            <p:nvPr/>
          </p:nvSpPr>
          <p:spPr>
            <a:xfrm>
              <a:off x="3361476" y="3167661"/>
              <a:ext cx="143988" cy="153462"/>
            </a:xfrm>
            <a:custGeom>
              <a:avLst/>
              <a:gdLst/>
              <a:ahLst/>
              <a:cxnLst/>
              <a:rect l="0" t="0" r="0" b="0"/>
              <a:pathLst>
                <a:path w="76" h="81" extrusionOk="0">
                  <a:moveTo>
                    <a:pt x="47" y="81"/>
                  </a:moveTo>
                  <a:lnTo>
                    <a:pt x="31" y="57"/>
                  </a:lnTo>
                  <a:lnTo>
                    <a:pt x="0" y="64"/>
                  </a:lnTo>
                  <a:lnTo>
                    <a:pt x="19" y="40"/>
                  </a:lnTo>
                  <a:lnTo>
                    <a:pt x="0" y="17"/>
                  </a:lnTo>
                  <a:lnTo>
                    <a:pt x="31" y="26"/>
                  </a:lnTo>
                  <a:lnTo>
                    <a:pt x="47" y="0"/>
                  </a:lnTo>
                  <a:lnTo>
                    <a:pt x="47" y="31"/>
                  </a:lnTo>
                  <a:lnTo>
                    <a:pt x="76" y="40"/>
                  </a:lnTo>
                  <a:lnTo>
                    <a:pt x="47" y="50"/>
                  </a:lnTo>
                  <a:lnTo>
                    <a:pt x="47" y="8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232" name="Shape 232"/>
          <p:cNvGrpSpPr/>
          <p:nvPr/>
        </p:nvGrpSpPr>
        <p:grpSpPr>
          <a:xfrm>
            <a:off x="2162626" y="238338"/>
            <a:ext cx="1041967" cy="1618269"/>
            <a:chOff x="3570287" y="915200"/>
            <a:chExt cx="1001713" cy="1555751"/>
          </a:xfrm>
        </p:grpSpPr>
        <p:sp>
          <p:nvSpPr>
            <p:cNvPr id="233" name="Shape 233"/>
            <p:cNvSpPr/>
            <p:nvPr/>
          </p:nvSpPr>
          <p:spPr>
            <a:xfrm>
              <a:off x="3971925" y="2313789"/>
              <a:ext cx="198437" cy="157162"/>
            </a:xfrm>
            <a:custGeom>
              <a:avLst/>
              <a:gdLst/>
              <a:ahLst/>
              <a:cxnLst/>
              <a:rect l="0" t="0" r="0" b="0"/>
              <a:pathLst>
                <a:path w="53" h="42" extrusionOk="0">
                  <a:moveTo>
                    <a:pt x="47" y="40"/>
                  </a:moveTo>
                  <a:cubicBezTo>
                    <a:pt x="47" y="41"/>
                    <a:pt x="46" y="42"/>
                    <a:pt x="4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6" y="41"/>
                    <a:pt x="6" y="4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lnTo>
                    <a:pt x="47" y="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234" name="Shape 234"/>
            <p:cNvCxnSpPr/>
            <p:nvPr/>
          </p:nvCxnSpPr>
          <p:spPr>
            <a:xfrm>
              <a:off x="4073525" y="2099475"/>
              <a:ext cx="0" cy="244474"/>
            </a:xfrm>
            <a:prstGeom prst="straightConnector1">
              <a:avLst/>
            </a:prstGeom>
            <a:noFill/>
            <a:ln w="9525" cap="flat">
              <a:solidFill>
                <a:srgbClr val="0079C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235" name="Shape 235"/>
            <p:cNvCxnSpPr/>
            <p:nvPr/>
          </p:nvCxnSpPr>
          <p:spPr>
            <a:xfrm flipH="1">
              <a:off x="4137024" y="2099475"/>
              <a:ext cx="46037" cy="244474"/>
            </a:xfrm>
            <a:prstGeom prst="straightConnector1">
              <a:avLst/>
            </a:prstGeom>
            <a:noFill/>
            <a:ln w="9525" cap="flat">
              <a:solidFill>
                <a:srgbClr val="0079C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236" name="Shape 236"/>
            <p:cNvCxnSpPr/>
            <p:nvPr/>
          </p:nvCxnSpPr>
          <p:spPr>
            <a:xfrm>
              <a:off x="3960812" y="2099475"/>
              <a:ext cx="44450" cy="244474"/>
            </a:xfrm>
            <a:prstGeom prst="straightConnector1">
              <a:avLst/>
            </a:prstGeom>
            <a:noFill/>
            <a:ln w="9525" cap="flat">
              <a:solidFill>
                <a:srgbClr val="0079C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sp>
          <p:nvSpPr>
            <p:cNvPr id="237" name="Shape 237"/>
            <p:cNvSpPr/>
            <p:nvPr/>
          </p:nvSpPr>
          <p:spPr>
            <a:xfrm>
              <a:off x="3570287" y="915200"/>
              <a:ext cx="1001713" cy="1222375"/>
            </a:xfrm>
            <a:custGeom>
              <a:avLst/>
              <a:gdLst/>
              <a:ahLst/>
              <a:cxnLst/>
              <a:rect l="0" t="0" r="0" b="0"/>
              <a:pathLst>
                <a:path w="267" h="326" extrusionOk="0">
                  <a:moveTo>
                    <a:pt x="132" y="326"/>
                  </a:moveTo>
                  <a:cubicBezTo>
                    <a:pt x="102" y="326"/>
                    <a:pt x="102" y="326"/>
                    <a:pt x="102" y="326"/>
                  </a:cubicBezTo>
                  <a:cubicBezTo>
                    <a:pt x="89" y="326"/>
                    <a:pt x="86" y="314"/>
                    <a:pt x="86" y="303"/>
                  </a:cubicBezTo>
                  <a:cubicBezTo>
                    <a:pt x="86" y="246"/>
                    <a:pt x="0" y="218"/>
                    <a:pt x="0" y="133"/>
                  </a:cubicBezTo>
                  <a:cubicBezTo>
                    <a:pt x="0" y="60"/>
                    <a:pt x="60" y="0"/>
                    <a:pt x="134" y="0"/>
                  </a:cubicBezTo>
                  <a:cubicBezTo>
                    <a:pt x="207" y="0"/>
                    <a:pt x="267" y="60"/>
                    <a:pt x="267" y="133"/>
                  </a:cubicBezTo>
                  <a:cubicBezTo>
                    <a:pt x="267" y="218"/>
                    <a:pt x="181" y="246"/>
                    <a:pt x="181" y="303"/>
                  </a:cubicBezTo>
                  <a:cubicBezTo>
                    <a:pt x="181" y="314"/>
                    <a:pt x="178" y="326"/>
                    <a:pt x="165" y="326"/>
                  </a:cubicBezTo>
                  <a:cubicBezTo>
                    <a:pt x="149" y="326"/>
                    <a:pt x="149" y="326"/>
                    <a:pt x="149" y="326"/>
                  </a:cubicBezTo>
                  <a:lnTo>
                    <a:pt x="132" y="3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38" name="Shape 238"/>
            <p:cNvSpPr/>
            <p:nvPr/>
          </p:nvSpPr>
          <p:spPr>
            <a:xfrm>
              <a:off x="3773487" y="1116813"/>
              <a:ext cx="603250" cy="514350"/>
            </a:xfrm>
            <a:custGeom>
              <a:avLst/>
              <a:gdLst/>
              <a:ahLst/>
              <a:cxnLst/>
              <a:rect l="0" t="0" r="0" b="0"/>
              <a:pathLst>
                <a:path w="161" h="137" extrusionOk="0">
                  <a:moveTo>
                    <a:pt x="105" y="107"/>
                  </a:moveTo>
                  <a:cubicBezTo>
                    <a:pt x="141" y="107"/>
                    <a:pt x="141" y="107"/>
                    <a:pt x="141" y="107"/>
                  </a:cubicBezTo>
                  <a:cubicBezTo>
                    <a:pt x="141" y="85"/>
                    <a:pt x="141" y="85"/>
                    <a:pt x="141" y="85"/>
                  </a:cubicBezTo>
                  <a:cubicBezTo>
                    <a:pt x="105" y="85"/>
                    <a:pt x="105" y="85"/>
                    <a:pt x="105" y="85"/>
                  </a:cubicBezTo>
                  <a:lnTo>
                    <a:pt x="105" y="107"/>
                  </a:lnTo>
                  <a:close/>
                  <a:moveTo>
                    <a:pt x="61" y="30"/>
                  </a:moveTo>
                  <a:cubicBezTo>
                    <a:pt x="98" y="30"/>
                    <a:pt x="98" y="30"/>
                    <a:pt x="98" y="30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61" y="8"/>
                    <a:pt x="61" y="8"/>
                    <a:pt x="61" y="8"/>
                  </a:cubicBezTo>
                  <a:lnTo>
                    <a:pt x="61" y="30"/>
                  </a:lnTo>
                  <a:close/>
                  <a:moveTo>
                    <a:pt x="18" y="107"/>
                  </a:moveTo>
                  <a:cubicBezTo>
                    <a:pt x="54" y="107"/>
                    <a:pt x="54" y="107"/>
                    <a:pt x="54" y="107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18" y="85"/>
                    <a:pt x="18" y="85"/>
                    <a:pt x="18" y="85"/>
                  </a:cubicBezTo>
                  <a:lnTo>
                    <a:pt x="18" y="107"/>
                  </a:lnTo>
                  <a:close/>
                  <a:moveTo>
                    <a:pt x="103" y="0"/>
                  </a:moveTo>
                  <a:cubicBezTo>
                    <a:pt x="104" y="0"/>
                    <a:pt x="105" y="0"/>
                    <a:pt x="105" y="0"/>
                  </a:cubicBezTo>
                  <a:cubicBezTo>
                    <a:pt x="106" y="1"/>
                    <a:pt x="106" y="2"/>
                    <a:pt x="106" y="3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3" y="50"/>
                    <a:pt x="114" y="51"/>
                    <a:pt x="115" y="52"/>
                  </a:cubicBezTo>
                  <a:cubicBezTo>
                    <a:pt x="117" y="57"/>
                    <a:pt x="116" y="60"/>
                    <a:pt x="113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96"/>
                    <a:pt x="85" y="96"/>
                    <a:pt x="85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8"/>
                    <a:pt x="97" y="77"/>
                  </a:cubicBezTo>
                  <a:cubicBezTo>
                    <a:pt x="97" y="77"/>
                    <a:pt x="98" y="77"/>
                    <a:pt x="99" y="77"/>
                  </a:cubicBezTo>
                  <a:cubicBezTo>
                    <a:pt x="147" y="77"/>
                    <a:pt x="147" y="77"/>
                    <a:pt x="147" y="77"/>
                  </a:cubicBezTo>
                  <a:cubicBezTo>
                    <a:pt x="148" y="77"/>
                    <a:pt x="148" y="77"/>
                    <a:pt x="149" y="77"/>
                  </a:cubicBezTo>
                  <a:cubicBezTo>
                    <a:pt x="150" y="78"/>
                    <a:pt x="150" y="79"/>
                    <a:pt x="150" y="80"/>
                  </a:cubicBezTo>
                  <a:cubicBezTo>
                    <a:pt x="150" y="113"/>
                    <a:pt x="150" y="113"/>
                    <a:pt x="150" y="113"/>
                  </a:cubicBezTo>
                  <a:cubicBezTo>
                    <a:pt x="156" y="125"/>
                    <a:pt x="156" y="125"/>
                    <a:pt x="156" y="125"/>
                  </a:cubicBezTo>
                  <a:cubicBezTo>
                    <a:pt x="157" y="127"/>
                    <a:pt x="158" y="128"/>
                    <a:pt x="158" y="129"/>
                  </a:cubicBezTo>
                  <a:cubicBezTo>
                    <a:pt x="161" y="134"/>
                    <a:pt x="160" y="137"/>
                    <a:pt x="156" y="137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89" y="137"/>
                    <a:pt x="88" y="137"/>
                    <a:pt x="88" y="136"/>
                  </a:cubicBezTo>
                  <a:cubicBezTo>
                    <a:pt x="87" y="136"/>
                    <a:pt x="86" y="136"/>
                    <a:pt x="86" y="135"/>
                  </a:cubicBezTo>
                  <a:cubicBezTo>
                    <a:pt x="86" y="135"/>
                    <a:pt x="86" y="134"/>
                    <a:pt x="86" y="134"/>
                  </a:cubicBezTo>
                  <a:cubicBezTo>
                    <a:pt x="86" y="133"/>
                    <a:pt x="86" y="132"/>
                    <a:pt x="87" y="131"/>
                  </a:cubicBezTo>
                  <a:cubicBezTo>
                    <a:pt x="87" y="130"/>
                    <a:pt x="87" y="129"/>
                    <a:pt x="88" y="129"/>
                  </a:cubicBezTo>
                  <a:cubicBezTo>
                    <a:pt x="88" y="128"/>
                    <a:pt x="88" y="127"/>
                    <a:pt x="89" y="126"/>
                  </a:cubicBezTo>
                  <a:cubicBezTo>
                    <a:pt x="89" y="125"/>
                    <a:pt x="90" y="125"/>
                    <a:pt x="90" y="125"/>
                  </a:cubicBezTo>
                  <a:cubicBezTo>
                    <a:pt x="96" y="113"/>
                    <a:pt x="96" y="113"/>
                    <a:pt x="96" y="113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13"/>
                    <a:pt x="63" y="113"/>
                    <a:pt x="63" y="11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70" y="127"/>
                    <a:pt x="71" y="128"/>
                    <a:pt x="72" y="129"/>
                  </a:cubicBezTo>
                  <a:cubicBezTo>
                    <a:pt x="74" y="134"/>
                    <a:pt x="73" y="137"/>
                    <a:pt x="69" y="137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3" y="137"/>
                    <a:pt x="2" y="137"/>
                    <a:pt x="1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135"/>
                    <a:pt x="0" y="134"/>
                    <a:pt x="0" y="134"/>
                  </a:cubicBezTo>
                  <a:cubicBezTo>
                    <a:pt x="0" y="133"/>
                    <a:pt x="0" y="132"/>
                    <a:pt x="0" y="131"/>
                  </a:cubicBezTo>
                  <a:cubicBezTo>
                    <a:pt x="1" y="130"/>
                    <a:pt x="1" y="129"/>
                    <a:pt x="1" y="129"/>
                  </a:cubicBezTo>
                  <a:cubicBezTo>
                    <a:pt x="2" y="128"/>
                    <a:pt x="2" y="127"/>
                    <a:pt x="3" y="126"/>
                  </a:cubicBezTo>
                  <a:cubicBezTo>
                    <a:pt x="3" y="125"/>
                    <a:pt x="3" y="125"/>
                    <a:pt x="3" y="125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79"/>
                    <a:pt x="10" y="78"/>
                    <a:pt x="10" y="77"/>
                  </a:cubicBezTo>
                  <a:cubicBezTo>
                    <a:pt x="11" y="77"/>
                    <a:pt x="11" y="77"/>
                    <a:pt x="12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1" y="77"/>
                    <a:pt x="62" y="77"/>
                    <a:pt x="62" y="77"/>
                  </a:cubicBezTo>
                  <a:cubicBezTo>
                    <a:pt x="63" y="78"/>
                    <a:pt x="63" y="79"/>
                    <a:pt x="63" y="80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6" y="60"/>
                    <a:pt x="45" y="60"/>
                    <a:pt x="44" y="59"/>
                  </a:cubicBezTo>
                  <a:cubicBezTo>
                    <a:pt x="43" y="59"/>
                    <a:pt x="43" y="59"/>
                    <a:pt x="43" y="58"/>
                  </a:cubicBezTo>
                  <a:cubicBezTo>
                    <a:pt x="43" y="58"/>
                    <a:pt x="43" y="57"/>
                    <a:pt x="43" y="57"/>
                  </a:cubicBezTo>
                  <a:cubicBezTo>
                    <a:pt x="43" y="56"/>
                    <a:pt x="43" y="55"/>
                    <a:pt x="43" y="54"/>
                  </a:cubicBezTo>
                  <a:cubicBezTo>
                    <a:pt x="44" y="53"/>
                    <a:pt x="44" y="52"/>
                    <a:pt x="44" y="52"/>
                  </a:cubicBezTo>
                  <a:cubicBezTo>
                    <a:pt x="45" y="51"/>
                    <a:pt x="45" y="50"/>
                    <a:pt x="46" y="4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3" y="1"/>
                    <a:pt x="53" y="0"/>
                  </a:cubicBezTo>
                  <a:cubicBezTo>
                    <a:pt x="54" y="0"/>
                    <a:pt x="54" y="0"/>
                    <a:pt x="55" y="0"/>
                  </a:cubicBezTo>
                  <a:lnTo>
                    <a:pt x="1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239" name="Shape 239"/>
          <p:cNvGrpSpPr/>
          <p:nvPr/>
        </p:nvGrpSpPr>
        <p:grpSpPr>
          <a:xfrm>
            <a:off x="544286" y="1250672"/>
            <a:ext cx="1773180" cy="2764319"/>
            <a:chOff x="600512" y="922996"/>
            <a:chExt cx="1555459" cy="2424902"/>
          </a:xfrm>
        </p:grpSpPr>
        <p:sp>
          <p:nvSpPr>
            <p:cNvPr id="240" name="Shape 240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41" name="Shape 241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42" name="Shape 242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243" name="Shape 243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244" name="Shape 244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245" name="Shape 245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sp>
          <p:nvSpPr>
            <p:cNvPr id="246" name="Shape 246"/>
            <p:cNvSpPr/>
            <p:nvPr/>
          </p:nvSpPr>
          <p:spPr>
            <a:xfrm>
              <a:off x="886658" y="1203641"/>
              <a:ext cx="1008848" cy="1227126"/>
            </a:xfrm>
            <a:custGeom>
              <a:avLst/>
              <a:gdLst/>
              <a:ahLst/>
              <a:cxnLst/>
              <a:rect l="0" t="0" r="0" b="0"/>
              <a:pathLst>
                <a:path w="233" h="283" extrusionOk="0">
                  <a:moveTo>
                    <a:pt x="0" y="138"/>
                  </a:moveTo>
                  <a:cubicBezTo>
                    <a:pt x="11" y="148"/>
                    <a:pt x="35" y="156"/>
                    <a:pt x="49" y="138"/>
                  </a:cubicBezTo>
                  <a:cubicBezTo>
                    <a:pt x="39" y="122"/>
                    <a:pt x="17" y="126"/>
                    <a:pt x="0" y="138"/>
                  </a:cubicBezTo>
                  <a:moveTo>
                    <a:pt x="135" y="21"/>
                  </a:moveTo>
                  <a:cubicBezTo>
                    <a:pt x="119" y="34"/>
                    <a:pt x="103" y="50"/>
                    <a:pt x="117" y="74"/>
                  </a:cubicBezTo>
                  <a:cubicBezTo>
                    <a:pt x="142" y="66"/>
                    <a:pt x="142" y="43"/>
                    <a:pt x="135" y="21"/>
                  </a:cubicBezTo>
                  <a:moveTo>
                    <a:pt x="160" y="169"/>
                  </a:moveTo>
                  <a:cubicBezTo>
                    <a:pt x="177" y="156"/>
                    <a:pt x="167" y="127"/>
                    <a:pt x="151" y="113"/>
                  </a:cubicBezTo>
                  <a:cubicBezTo>
                    <a:pt x="151" y="113"/>
                    <a:pt x="151" y="112"/>
                    <a:pt x="150" y="113"/>
                  </a:cubicBezTo>
                  <a:cubicBezTo>
                    <a:pt x="142" y="128"/>
                    <a:pt x="138" y="158"/>
                    <a:pt x="160" y="169"/>
                  </a:cubicBezTo>
                  <a:moveTo>
                    <a:pt x="206" y="74"/>
                  </a:moveTo>
                  <a:cubicBezTo>
                    <a:pt x="199" y="98"/>
                    <a:pt x="164" y="111"/>
                    <a:pt x="183" y="148"/>
                  </a:cubicBezTo>
                  <a:cubicBezTo>
                    <a:pt x="168" y="171"/>
                    <a:pt x="147" y="191"/>
                    <a:pt x="113" y="205"/>
                  </a:cubicBezTo>
                  <a:cubicBezTo>
                    <a:pt x="113" y="165"/>
                    <a:pt x="130" y="125"/>
                    <a:pt x="112" y="78"/>
                  </a:cubicBezTo>
                  <a:cubicBezTo>
                    <a:pt x="109" y="72"/>
                    <a:pt x="104" y="65"/>
                    <a:pt x="103" y="59"/>
                  </a:cubicBezTo>
                  <a:cubicBezTo>
                    <a:pt x="102" y="54"/>
                    <a:pt x="104" y="50"/>
                    <a:pt x="103" y="46"/>
                  </a:cubicBezTo>
                  <a:cubicBezTo>
                    <a:pt x="101" y="14"/>
                    <a:pt x="72" y="8"/>
                    <a:pt x="51" y="0"/>
                  </a:cubicBezTo>
                  <a:cubicBezTo>
                    <a:pt x="56" y="23"/>
                    <a:pt x="59" y="45"/>
                    <a:pt x="75" y="54"/>
                  </a:cubicBezTo>
                  <a:cubicBezTo>
                    <a:pt x="82" y="59"/>
                    <a:pt x="89" y="58"/>
                    <a:pt x="99" y="61"/>
                  </a:cubicBezTo>
                  <a:cubicBezTo>
                    <a:pt x="114" y="100"/>
                    <a:pt x="108" y="130"/>
                    <a:pt x="102" y="160"/>
                  </a:cubicBezTo>
                  <a:cubicBezTo>
                    <a:pt x="83" y="156"/>
                    <a:pt x="67" y="147"/>
                    <a:pt x="54" y="130"/>
                  </a:cubicBezTo>
                  <a:cubicBezTo>
                    <a:pt x="55" y="123"/>
                    <a:pt x="60" y="118"/>
                    <a:pt x="60" y="112"/>
                  </a:cubicBezTo>
                  <a:cubicBezTo>
                    <a:pt x="59" y="96"/>
                    <a:pt x="44" y="83"/>
                    <a:pt x="36" y="76"/>
                  </a:cubicBezTo>
                  <a:cubicBezTo>
                    <a:pt x="34" y="90"/>
                    <a:pt x="26" y="103"/>
                    <a:pt x="36" y="119"/>
                  </a:cubicBezTo>
                  <a:cubicBezTo>
                    <a:pt x="39" y="125"/>
                    <a:pt x="46" y="126"/>
                    <a:pt x="51" y="131"/>
                  </a:cubicBezTo>
                  <a:cubicBezTo>
                    <a:pt x="55" y="136"/>
                    <a:pt x="57" y="141"/>
                    <a:pt x="61" y="146"/>
                  </a:cubicBezTo>
                  <a:cubicBezTo>
                    <a:pt x="71" y="159"/>
                    <a:pt x="86" y="168"/>
                    <a:pt x="99" y="173"/>
                  </a:cubicBezTo>
                  <a:cubicBezTo>
                    <a:pt x="89" y="202"/>
                    <a:pt x="87" y="245"/>
                    <a:pt x="100" y="283"/>
                  </a:cubicBezTo>
                  <a:cubicBezTo>
                    <a:pt x="133" y="283"/>
                    <a:pt x="133" y="283"/>
                    <a:pt x="133" y="283"/>
                  </a:cubicBezTo>
                  <a:cubicBezTo>
                    <a:pt x="123" y="266"/>
                    <a:pt x="115" y="248"/>
                    <a:pt x="114" y="228"/>
                  </a:cubicBezTo>
                  <a:cubicBezTo>
                    <a:pt x="142" y="214"/>
                    <a:pt x="161" y="195"/>
                    <a:pt x="176" y="174"/>
                  </a:cubicBezTo>
                  <a:cubicBezTo>
                    <a:pt x="180" y="168"/>
                    <a:pt x="184" y="156"/>
                    <a:pt x="189" y="152"/>
                  </a:cubicBezTo>
                  <a:cubicBezTo>
                    <a:pt x="192" y="150"/>
                    <a:pt x="195" y="150"/>
                    <a:pt x="198" y="149"/>
                  </a:cubicBezTo>
                  <a:cubicBezTo>
                    <a:pt x="223" y="136"/>
                    <a:pt x="220" y="105"/>
                    <a:pt x="206" y="74"/>
                  </a:cubicBezTo>
                  <a:moveTo>
                    <a:pt x="214" y="189"/>
                  </a:moveTo>
                  <a:cubicBezTo>
                    <a:pt x="221" y="186"/>
                    <a:pt x="227" y="180"/>
                    <a:pt x="233" y="176"/>
                  </a:cubicBezTo>
                  <a:cubicBezTo>
                    <a:pt x="218" y="166"/>
                    <a:pt x="186" y="162"/>
                    <a:pt x="177" y="185"/>
                  </a:cubicBezTo>
                  <a:cubicBezTo>
                    <a:pt x="187" y="192"/>
                    <a:pt x="198" y="197"/>
                    <a:pt x="214" y="1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247" name="Shape 247"/>
          <p:cNvSpPr/>
          <p:nvPr/>
        </p:nvSpPr>
        <p:spPr>
          <a:xfrm>
            <a:off x="5192485" y="5633735"/>
            <a:ext cx="1832428" cy="61829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</p:sp>
      <p:sp>
        <p:nvSpPr>
          <p:cNvPr id="248" name="Shape 248"/>
          <p:cNvSpPr/>
          <p:nvPr/>
        </p:nvSpPr>
        <p:spPr>
          <a:xfrm>
            <a:off x="7030582" y="5762171"/>
            <a:ext cx="1769837" cy="28098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">
  <p:cSld name="Divider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Shape 250"/>
          <p:cNvSpPr txBox="1">
            <a:spLocks noGrp="1"/>
          </p:cNvSpPr>
          <p:nvPr>
            <p:ph type="subTitle" idx="1"/>
          </p:nvPr>
        </p:nvSpPr>
        <p:spPr>
          <a:xfrm>
            <a:off x="2659063" y="3810000"/>
            <a:ext cx="5932487" cy="3524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90"/>
              </a:spcAft>
              <a:defRPr sz="1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30188" marR="0" indent="-153988" algn="l" rtl="0">
              <a:lnSpc>
                <a:spcPct val="95000"/>
              </a:lnSpc>
              <a:spcBef>
                <a:spcPts val="900"/>
              </a:spcBef>
              <a:spcAft>
                <a:spcPts val="10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58788" marR="0" indent="-160337" algn="l" rtl="0">
              <a:lnSpc>
                <a:spcPct val="95000"/>
              </a:lnSpc>
              <a:spcBef>
                <a:spcPts val="810"/>
              </a:spcBef>
              <a:spcAft>
                <a:spcPts val="90"/>
              </a:spcAft>
              <a:buClr>
                <a:schemeClr val="dk1"/>
              </a:buClr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842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9128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3700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8272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2844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16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1" name="Shape 251"/>
          <p:cNvSpPr txBox="1">
            <a:spLocks noGrp="1"/>
          </p:cNvSpPr>
          <p:nvPr>
            <p:ph type="ctrTitle"/>
          </p:nvPr>
        </p:nvSpPr>
        <p:spPr>
          <a:xfrm>
            <a:off x="2659063" y="3306762"/>
            <a:ext cx="5932487" cy="5032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2" name="Shape 252"/>
          <p:cNvSpPr txBox="1">
            <a:spLocks noGrp="1"/>
          </p:cNvSpPr>
          <p:nvPr>
            <p:ph type="sldNum" idx="12"/>
          </p:nvPr>
        </p:nvSpPr>
        <p:spPr>
          <a:xfrm>
            <a:off x="8686800" y="6400800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Tree Title &amp; Content">
  <p:cSld name="Green Tree Title &amp; Content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Shape 254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255" name="Shape 255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6" name="Shape 256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257" name="Shape 257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8" name="Shape 258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259" name="Shape 259"/>
          <p:cNvGrpSpPr/>
          <p:nvPr/>
        </p:nvGrpSpPr>
        <p:grpSpPr>
          <a:xfrm>
            <a:off x="7961313" y="5410199"/>
            <a:ext cx="1033770" cy="1239838"/>
            <a:chOff x="5702" y="1303"/>
            <a:chExt cx="1504" cy="1805"/>
          </a:xfrm>
        </p:grpSpPr>
        <p:sp>
          <p:nvSpPr>
            <p:cNvPr id="260" name="Shape 260"/>
            <p:cNvSpPr/>
            <p:nvPr/>
          </p:nvSpPr>
          <p:spPr>
            <a:xfrm>
              <a:off x="6068" y="2428"/>
              <a:ext cx="271" cy="352"/>
            </a:xfrm>
            <a:custGeom>
              <a:avLst/>
              <a:gdLst/>
              <a:ahLst/>
              <a:cxnLst/>
              <a:rect l="0" t="0" r="0" b="0"/>
              <a:pathLst>
                <a:path w="115" h="149" extrusionOk="0">
                  <a:moveTo>
                    <a:pt x="63" y="145"/>
                  </a:moveTo>
                  <a:cubicBezTo>
                    <a:pt x="63" y="147"/>
                    <a:pt x="64" y="148"/>
                    <a:pt x="65" y="149"/>
                  </a:cubicBezTo>
                  <a:cubicBezTo>
                    <a:pt x="65" y="148"/>
                    <a:pt x="66" y="146"/>
                    <a:pt x="66" y="145"/>
                  </a:cubicBezTo>
                  <a:cubicBezTo>
                    <a:pt x="78" y="120"/>
                    <a:pt x="115" y="33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0" y="40"/>
                    <a:pt x="48" y="122"/>
                    <a:pt x="63" y="14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1" name="Shape 261"/>
            <p:cNvSpPr/>
            <p:nvPr/>
          </p:nvSpPr>
          <p:spPr>
            <a:xfrm>
              <a:off x="5802" y="2198"/>
              <a:ext cx="337" cy="259"/>
            </a:xfrm>
            <a:custGeom>
              <a:avLst/>
              <a:gdLst/>
              <a:ahLst/>
              <a:cxnLst/>
              <a:rect l="0" t="0" r="0" b="0"/>
              <a:pathLst>
                <a:path w="143" h="110" extrusionOk="0">
                  <a:moveTo>
                    <a:pt x="3" y="23"/>
                  </a:moveTo>
                  <a:cubicBezTo>
                    <a:pt x="2" y="23"/>
                    <a:pt x="1" y="23"/>
                    <a:pt x="0" y="23"/>
                  </a:cubicBezTo>
                  <a:cubicBezTo>
                    <a:pt x="1" y="24"/>
                    <a:pt x="1" y="25"/>
                    <a:pt x="2" y="26"/>
                  </a:cubicBezTo>
                  <a:cubicBezTo>
                    <a:pt x="22" y="46"/>
                    <a:pt x="92" y="110"/>
                    <a:pt x="143" y="65"/>
                  </a:cubicBezTo>
                  <a:cubicBezTo>
                    <a:pt x="143" y="65"/>
                    <a:pt x="143" y="65"/>
                    <a:pt x="143" y="65"/>
                  </a:cubicBezTo>
                  <a:cubicBezTo>
                    <a:pt x="143" y="65"/>
                    <a:pt x="143" y="65"/>
                    <a:pt x="143" y="65"/>
                  </a:cubicBezTo>
                  <a:cubicBezTo>
                    <a:pt x="143" y="65"/>
                    <a:pt x="143" y="65"/>
                    <a:pt x="143" y="65"/>
                  </a:cubicBezTo>
                  <a:cubicBezTo>
                    <a:pt x="143" y="65"/>
                    <a:pt x="143" y="65"/>
                    <a:pt x="143" y="65"/>
                  </a:cubicBezTo>
                  <a:cubicBezTo>
                    <a:pt x="124" y="0"/>
                    <a:pt x="30" y="16"/>
                    <a:pt x="3" y="2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2" name="Shape 262"/>
            <p:cNvSpPr/>
            <p:nvPr/>
          </p:nvSpPr>
          <p:spPr>
            <a:xfrm>
              <a:off x="5809" y="2202"/>
              <a:ext cx="322" cy="154"/>
            </a:xfrm>
            <a:custGeom>
              <a:avLst/>
              <a:gdLst/>
              <a:ahLst/>
              <a:cxnLst/>
              <a:rect l="0" t="0" r="0" b="0"/>
              <a:pathLst>
                <a:path w="137" h="66" extrusionOk="0">
                  <a:moveTo>
                    <a:pt x="135" y="66"/>
                  </a:moveTo>
                  <a:cubicBezTo>
                    <a:pt x="136" y="66"/>
                    <a:pt x="137" y="65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18" y="0"/>
                    <a:pt x="27" y="17"/>
                    <a:pt x="0" y="23"/>
                  </a:cubicBezTo>
                  <a:cubicBezTo>
                    <a:pt x="42" y="16"/>
                    <a:pt x="112" y="14"/>
                    <a:pt x="135" y="66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3" name="Shape 263"/>
            <p:cNvSpPr/>
            <p:nvPr/>
          </p:nvSpPr>
          <p:spPr>
            <a:xfrm>
              <a:off x="5827" y="2380"/>
              <a:ext cx="292" cy="267"/>
            </a:xfrm>
            <a:custGeom>
              <a:avLst/>
              <a:gdLst/>
              <a:ahLst/>
              <a:cxnLst/>
              <a:rect l="0" t="0" r="0" b="0"/>
              <a:pathLst>
                <a:path w="124" h="113" extrusionOk="0">
                  <a:moveTo>
                    <a:pt x="1" y="109"/>
                  </a:moveTo>
                  <a:cubicBezTo>
                    <a:pt x="1" y="111"/>
                    <a:pt x="0" y="112"/>
                    <a:pt x="0" y="113"/>
                  </a:cubicBezTo>
                  <a:cubicBezTo>
                    <a:pt x="1" y="113"/>
                    <a:pt x="2" y="113"/>
                    <a:pt x="4" y="112"/>
                  </a:cubicBezTo>
                  <a:cubicBezTo>
                    <a:pt x="31" y="109"/>
                    <a:pt x="124" y="92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56" y="0"/>
                    <a:pt x="13" y="84"/>
                    <a:pt x="1" y="10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4" name="Shape 264"/>
            <p:cNvSpPr/>
            <p:nvPr/>
          </p:nvSpPr>
          <p:spPr>
            <a:xfrm>
              <a:off x="5836" y="2387"/>
              <a:ext cx="271" cy="255"/>
            </a:xfrm>
            <a:custGeom>
              <a:avLst/>
              <a:gdLst/>
              <a:ahLst/>
              <a:cxnLst/>
              <a:rect l="0" t="0" r="0" b="0"/>
              <a:pathLst>
                <a:path w="115" h="108" extrusionOk="0">
                  <a:moveTo>
                    <a:pt x="115" y="25"/>
                  </a:moveTo>
                  <a:cubicBezTo>
                    <a:pt x="115" y="24"/>
                    <a:pt x="115" y="23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52" y="0"/>
                    <a:pt x="11" y="83"/>
                    <a:pt x="0" y="108"/>
                  </a:cubicBezTo>
                  <a:cubicBezTo>
                    <a:pt x="19" y="71"/>
                    <a:pt x="59" y="13"/>
                    <a:pt x="115" y="2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5" name="Shape 265"/>
            <p:cNvSpPr/>
            <p:nvPr/>
          </p:nvSpPr>
          <p:spPr>
            <a:xfrm>
              <a:off x="6193" y="2432"/>
              <a:ext cx="142" cy="337"/>
            </a:xfrm>
            <a:custGeom>
              <a:avLst/>
              <a:gdLst/>
              <a:ahLst/>
              <a:cxnLst/>
              <a:rect l="0" t="0" r="0" b="0"/>
              <a:pathLst>
                <a:path w="60" h="143" extrusionOk="0">
                  <a:moveTo>
                    <a:pt x="0" y="2"/>
                  </a:move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60" y="34"/>
                    <a:pt x="23" y="119"/>
                    <a:pt x="11" y="143"/>
                  </a:cubicBezTo>
                  <a:cubicBezTo>
                    <a:pt x="26" y="104"/>
                    <a:pt x="45" y="37"/>
                    <a:pt x="0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6" name="Shape 266"/>
            <p:cNvSpPr/>
            <p:nvPr/>
          </p:nvSpPr>
          <p:spPr>
            <a:xfrm>
              <a:off x="6766" y="2426"/>
              <a:ext cx="358" cy="275"/>
            </a:xfrm>
            <a:custGeom>
              <a:avLst/>
              <a:gdLst/>
              <a:ahLst/>
              <a:cxnLst/>
              <a:rect l="0" t="0" r="0" b="0"/>
              <a:pathLst>
                <a:path w="152" h="117" extrusionOk="0">
                  <a:moveTo>
                    <a:pt x="149" y="31"/>
                  </a:moveTo>
                  <a:cubicBezTo>
                    <a:pt x="150" y="30"/>
                    <a:pt x="151" y="29"/>
                    <a:pt x="152" y="28"/>
                  </a:cubicBezTo>
                  <a:cubicBezTo>
                    <a:pt x="151" y="28"/>
                    <a:pt x="150" y="27"/>
                    <a:pt x="148" y="27"/>
                  </a:cubicBezTo>
                  <a:cubicBezTo>
                    <a:pt x="120" y="20"/>
                    <a:pt x="22" y="0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53" y="117"/>
                    <a:pt x="128" y="51"/>
                    <a:pt x="149" y="3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7" name="Shape 267"/>
            <p:cNvSpPr/>
            <p:nvPr/>
          </p:nvSpPr>
          <p:spPr>
            <a:xfrm>
              <a:off x="6551" y="2664"/>
              <a:ext cx="283" cy="367"/>
            </a:xfrm>
            <a:custGeom>
              <a:avLst/>
              <a:gdLst/>
              <a:ahLst/>
              <a:cxnLst/>
              <a:rect l="0" t="0" r="0" b="0"/>
              <a:pathLst>
                <a:path w="120" h="156" extrusionOk="0">
                  <a:moveTo>
                    <a:pt x="49" y="153"/>
                  </a:moveTo>
                  <a:cubicBezTo>
                    <a:pt x="49" y="154"/>
                    <a:pt x="50" y="155"/>
                    <a:pt x="50" y="156"/>
                  </a:cubicBezTo>
                  <a:cubicBezTo>
                    <a:pt x="51" y="155"/>
                    <a:pt x="52" y="154"/>
                    <a:pt x="53" y="153"/>
                  </a:cubicBezTo>
                  <a:cubicBezTo>
                    <a:pt x="69" y="129"/>
                    <a:pt x="120" y="43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33"/>
                    <a:pt x="37" y="126"/>
                    <a:pt x="49" y="15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8" name="Shape 268"/>
            <p:cNvSpPr/>
            <p:nvPr/>
          </p:nvSpPr>
          <p:spPr>
            <a:xfrm>
              <a:off x="6555" y="2669"/>
              <a:ext cx="152" cy="356"/>
            </a:xfrm>
            <a:custGeom>
              <a:avLst/>
              <a:gdLst/>
              <a:ahLst/>
              <a:cxnLst/>
              <a:rect l="0" t="0" r="0" b="0"/>
              <a:pathLst>
                <a:path w="65" h="151" extrusionOk="0">
                  <a:moveTo>
                    <a:pt x="65" y="2"/>
                  </a:moveTo>
                  <a:cubicBezTo>
                    <a:pt x="64" y="2"/>
                    <a:pt x="63" y="1"/>
                    <a:pt x="63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0" y="33"/>
                    <a:pt x="36" y="125"/>
                    <a:pt x="48" y="151"/>
                  </a:cubicBezTo>
                  <a:cubicBezTo>
                    <a:pt x="33" y="109"/>
                    <a:pt x="16" y="37"/>
                    <a:pt x="65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69" name="Shape 269"/>
            <p:cNvSpPr/>
            <p:nvPr/>
          </p:nvSpPr>
          <p:spPr>
            <a:xfrm>
              <a:off x="6768" y="2630"/>
              <a:ext cx="302" cy="292"/>
            </a:xfrm>
            <a:custGeom>
              <a:avLst/>
              <a:gdLst/>
              <a:ahLst/>
              <a:cxnLst/>
              <a:rect l="0" t="0" r="0" b="0"/>
              <a:pathLst>
                <a:path w="128" h="124" extrusionOk="0">
                  <a:moveTo>
                    <a:pt x="124" y="124"/>
                  </a:moveTo>
                  <a:cubicBezTo>
                    <a:pt x="125" y="124"/>
                    <a:pt x="127" y="124"/>
                    <a:pt x="128" y="124"/>
                  </a:cubicBezTo>
                  <a:cubicBezTo>
                    <a:pt x="127" y="123"/>
                    <a:pt x="127" y="122"/>
                    <a:pt x="127" y="121"/>
                  </a:cubicBezTo>
                  <a:cubicBezTo>
                    <a:pt x="117" y="93"/>
                    <a:pt x="80" y="0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0" y="90"/>
                    <a:pt x="96" y="117"/>
                    <a:pt x="124" y="12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0" name="Shape 270"/>
            <p:cNvSpPr/>
            <p:nvPr/>
          </p:nvSpPr>
          <p:spPr>
            <a:xfrm>
              <a:off x="6775" y="2679"/>
              <a:ext cx="289" cy="240"/>
            </a:xfrm>
            <a:custGeom>
              <a:avLst/>
              <a:gdLst/>
              <a:ahLst/>
              <a:cxnLst/>
              <a:rect l="0" t="0" r="0" b="0"/>
              <a:pathLst>
                <a:path w="122" h="102" extrusionOk="0">
                  <a:moveTo>
                    <a:pt x="13" y="0"/>
                  </a:moveTo>
                  <a:cubicBezTo>
                    <a:pt x="12" y="0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0" y="70"/>
                    <a:pt x="94" y="96"/>
                    <a:pt x="122" y="102"/>
                  </a:cubicBezTo>
                  <a:cubicBezTo>
                    <a:pt x="80" y="89"/>
                    <a:pt x="12" y="60"/>
                    <a:pt x="13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1" name="Shape 271"/>
            <p:cNvSpPr/>
            <p:nvPr/>
          </p:nvSpPr>
          <p:spPr>
            <a:xfrm>
              <a:off x="6773" y="2428"/>
              <a:ext cx="344" cy="163"/>
            </a:xfrm>
            <a:custGeom>
              <a:avLst/>
              <a:gdLst/>
              <a:ahLst/>
              <a:cxnLst/>
              <a:rect l="0" t="0" r="0" b="0"/>
              <a:pathLst>
                <a:path w="146" h="69" extrusionOk="0">
                  <a:moveTo>
                    <a:pt x="2" y="69"/>
                  </a:moveTo>
                  <a:cubicBezTo>
                    <a:pt x="1" y="68"/>
                    <a:pt x="0" y="68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0"/>
                    <a:pt x="118" y="21"/>
                    <a:pt x="146" y="29"/>
                  </a:cubicBezTo>
                  <a:cubicBezTo>
                    <a:pt x="102" y="20"/>
                    <a:pt x="29" y="15"/>
                    <a:pt x="2" y="6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2" name="Shape 272"/>
            <p:cNvSpPr/>
            <p:nvPr/>
          </p:nvSpPr>
          <p:spPr>
            <a:xfrm>
              <a:off x="6838" y="2152"/>
              <a:ext cx="196" cy="150"/>
            </a:xfrm>
            <a:custGeom>
              <a:avLst/>
              <a:gdLst/>
              <a:ahLst/>
              <a:cxnLst/>
              <a:rect l="0" t="0" r="0" b="0"/>
              <a:pathLst>
                <a:path w="83" h="64" extrusionOk="0">
                  <a:moveTo>
                    <a:pt x="2" y="40"/>
                  </a:moveTo>
                  <a:cubicBezTo>
                    <a:pt x="1" y="41"/>
                    <a:pt x="1" y="41"/>
                    <a:pt x="0" y="42"/>
                  </a:cubicBezTo>
                  <a:cubicBezTo>
                    <a:pt x="1" y="42"/>
                    <a:pt x="2" y="42"/>
                    <a:pt x="2" y="42"/>
                  </a:cubicBezTo>
                  <a:cubicBezTo>
                    <a:pt x="17" y="48"/>
                    <a:pt x="67" y="64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57" y="0"/>
                    <a:pt x="14" y="31"/>
                    <a:pt x="2" y="4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3" name="Shape 273"/>
            <p:cNvSpPr/>
            <p:nvPr/>
          </p:nvSpPr>
          <p:spPr>
            <a:xfrm>
              <a:off x="7008" y="1990"/>
              <a:ext cx="146" cy="191"/>
            </a:xfrm>
            <a:custGeom>
              <a:avLst/>
              <a:gdLst/>
              <a:ahLst/>
              <a:cxnLst/>
              <a:rect l="0" t="0" r="0" b="0"/>
              <a:pathLst>
                <a:path w="62" h="81" extrusionOk="0">
                  <a:moveTo>
                    <a:pt x="43" y="2"/>
                  </a:moveTo>
                  <a:cubicBezTo>
                    <a:pt x="43" y="1"/>
                    <a:pt x="43" y="0"/>
                    <a:pt x="43" y="0"/>
                  </a:cubicBezTo>
                  <a:cubicBezTo>
                    <a:pt x="42" y="0"/>
                    <a:pt x="42" y="1"/>
                    <a:pt x="41" y="1"/>
                  </a:cubicBezTo>
                  <a:cubicBezTo>
                    <a:pt x="32" y="13"/>
                    <a:pt x="0" y="55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62" y="67"/>
                    <a:pt x="48" y="16"/>
                    <a:pt x="43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4" name="Shape 274"/>
            <p:cNvSpPr/>
            <p:nvPr/>
          </p:nvSpPr>
          <p:spPr>
            <a:xfrm>
              <a:off x="7068" y="1994"/>
              <a:ext cx="85" cy="186"/>
            </a:xfrm>
            <a:custGeom>
              <a:avLst/>
              <a:gdLst/>
              <a:ahLst/>
              <a:cxnLst/>
              <a:rect l="0" t="0" r="0" b="0"/>
              <a:pathLst>
                <a:path w="36" h="79" extrusionOk="0">
                  <a:moveTo>
                    <a:pt x="0" y="78"/>
                  </a:moveTo>
                  <a:cubicBezTo>
                    <a:pt x="1" y="78"/>
                    <a:pt x="1" y="78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36" y="65"/>
                    <a:pt x="23" y="15"/>
                    <a:pt x="18" y="0"/>
                  </a:cubicBezTo>
                  <a:cubicBezTo>
                    <a:pt x="23" y="23"/>
                    <a:pt x="28" y="62"/>
                    <a:pt x="0" y="7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5" name="Shape 275"/>
            <p:cNvSpPr/>
            <p:nvPr/>
          </p:nvSpPr>
          <p:spPr>
            <a:xfrm>
              <a:off x="6894" y="2023"/>
              <a:ext cx="152" cy="160"/>
            </a:xfrm>
            <a:custGeom>
              <a:avLst/>
              <a:gdLst/>
              <a:ahLst/>
              <a:cxnLst/>
              <a:rect l="0" t="0" r="0" b="0"/>
              <a:pathLst>
                <a:path w="65" h="68" extrusionOk="0">
                  <a:moveTo>
                    <a:pt x="2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4" y="17"/>
                    <a:pt x="18" y="68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5" y="26"/>
                    <a:pt x="16" y="6"/>
                    <a:pt x="2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6" name="Shape 276"/>
            <p:cNvSpPr/>
            <p:nvPr/>
          </p:nvSpPr>
          <p:spPr>
            <a:xfrm>
              <a:off x="6895" y="2029"/>
              <a:ext cx="148" cy="139"/>
            </a:xfrm>
            <a:custGeom>
              <a:avLst/>
              <a:gdLst/>
              <a:ahLst/>
              <a:cxnLst/>
              <a:rect l="0" t="0" r="0" b="0"/>
              <a:pathLst>
                <a:path w="63" h="59" extrusionOk="0">
                  <a:moveTo>
                    <a:pt x="52" y="59"/>
                  </a:moveTo>
                  <a:cubicBezTo>
                    <a:pt x="52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63" y="23"/>
                    <a:pt x="15" y="4"/>
                    <a:pt x="0" y="0"/>
                  </a:cubicBezTo>
                  <a:cubicBezTo>
                    <a:pt x="22" y="9"/>
                    <a:pt x="56" y="28"/>
                    <a:pt x="52" y="5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7" name="Shape 277"/>
            <p:cNvSpPr/>
            <p:nvPr/>
          </p:nvSpPr>
          <p:spPr>
            <a:xfrm>
              <a:off x="6844" y="2218"/>
              <a:ext cx="186" cy="82"/>
            </a:xfrm>
            <a:custGeom>
              <a:avLst/>
              <a:gdLst/>
              <a:ahLst/>
              <a:cxnLst/>
              <a:rect l="0" t="0" r="0" b="0"/>
              <a:pathLst>
                <a:path w="79" h="35" extrusionOk="0">
                  <a:moveTo>
                    <a:pt x="78" y="0"/>
                  </a:moveTo>
                  <a:cubicBezTo>
                    <a:pt x="79" y="0"/>
                    <a:pt x="79" y="0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64" y="35"/>
                    <a:pt x="14" y="18"/>
                    <a:pt x="0" y="13"/>
                  </a:cubicBezTo>
                  <a:cubicBezTo>
                    <a:pt x="23" y="20"/>
                    <a:pt x="61" y="26"/>
                    <a:pt x="78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8" name="Shape 278"/>
            <p:cNvSpPr/>
            <p:nvPr/>
          </p:nvSpPr>
          <p:spPr>
            <a:xfrm>
              <a:off x="6526" y="1931"/>
              <a:ext cx="238" cy="185"/>
            </a:xfrm>
            <a:custGeom>
              <a:avLst/>
              <a:gdLst/>
              <a:ahLst/>
              <a:cxnLst/>
              <a:rect l="0" t="0" r="0" b="0"/>
              <a:pathLst>
                <a:path w="101" h="78" extrusionOk="0">
                  <a:moveTo>
                    <a:pt x="99" y="24"/>
                  </a:moveTo>
                  <a:cubicBezTo>
                    <a:pt x="100" y="23"/>
                    <a:pt x="100" y="23"/>
                    <a:pt x="101" y="22"/>
                  </a:cubicBezTo>
                  <a:cubicBezTo>
                    <a:pt x="100" y="22"/>
                    <a:pt x="99" y="22"/>
                    <a:pt x="99" y="22"/>
                  </a:cubicBezTo>
                  <a:cubicBezTo>
                    <a:pt x="80" y="16"/>
                    <a:pt x="16" y="0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3" y="78"/>
                    <a:pt x="85" y="37"/>
                    <a:pt x="99" y="2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79" name="Shape 279"/>
            <p:cNvSpPr/>
            <p:nvPr/>
          </p:nvSpPr>
          <p:spPr>
            <a:xfrm>
              <a:off x="6381" y="2086"/>
              <a:ext cx="186" cy="243"/>
            </a:xfrm>
            <a:custGeom>
              <a:avLst/>
              <a:gdLst/>
              <a:ahLst/>
              <a:cxnLst/>
              <a:rect l="0" t="0" r="0" b="0"/>
              <a:pathLst>
                <a:path w="79" h="103" extrusionOk="0">
                  <a:moveTo>
                    <a:pt x="29" y="100"/>
                  </a:moveTo>
                  <a:cubicBezTo>
                    <a:pt x="29" y="101"/>
                    <a:pt x="29" y="102"/>
                    <a:pt x="30" y="103"/>
                  </a:cubicBezTo>
                  <a:cubicBezTo>
                    <a:pt x="30" y="102"/>
                    <a:pt x="31" y="102"/>
                    <a:pt x="31" y="101"/>
                  </a:cubicBezTo>
                  <a:cubicBezTo>
                    <a:pt x="43" y="86"/>
                    <a:pt x="79" y="31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0" y="21"/>
                    <a:pt x="22" y="83"/>
                    <a:pt x="29" y="10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0" name="Shape 280"/>
            <p:cNvSpPr/>
            <p:nvPr/>
          </p:nvSpPr>
          <p:spPr>
            <a:xfrm>
              <a:off x="6386" y="2090"/>
              <a:ext cx="101" cy="233"/>
            </a:xfrm>
            <a:custGeom>
              <a:avLst/>
              <a:gdLst/>
              <a:ahLst/>
              <a:cxnLst/>
              <a:rect l="0" t="0" r="0" b="0"/>
              <a:pathLst>
                <a:path w="43" h="99" extrusionOk="0">
                  <a:moveTo>
                    <a:pt x="43" y="1"/>
                  </a:moveTo>
                  <a:cubicBezTo>
                    <a:pt x="42" y="1"/>
                    <a:pt x="42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20"/>
                    <a:pt x="20" y="81"/>
                    <a:pt x="28" y="99"/>
                  </a:cubicBezTo>
                  <a:cubicBezTo>
                    <a:pt x="19" y="71"/>
                    <a:pt x="10" y="23"/>
                    <a:pt x="43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1" name="Shape 281"/>
            <p:cNvSpPr/>
            <p:nvPr/>
          </p:nvSpPr>
          <p:spPr>
            <a:xfrm>
              <a:off x="6519" y="2071"/>
              <a:ext cx="199" cy="196"/>
            </a:xfrm>
            <a:custGeom>
              <a:avLst/>
              <a:gdLst/>
              <a:ahLst/>
              <a:cxnLst/>
              <a:rect l="0" t="0" r="0" b="0"/>
              <a:pathLst>
                <a:path w="84" h="83" extrusionOk="0">
                  <a:moveTo>
                    <a:pt x="81" y="83"/>
                  </a:moveTo>
                  <a:cubicBezTo>
                    <a:pt x="82" y="83"/>
                    <a:pt x="83" y="83"/>
                    <a:pt x="84" y="83"/>
                  </a:cubicBezTo>
                  <a:cubicBezTo>
                    <a:pt x="83" y="83"/>
                    <a:pt x="83" y="82"/>
                    <a:pt x="83" y="81"/>
                  </a:cubicBezTo>
                  <a:cubicBezTo>
                    <a:pt x="78" y="63"/>
                    <a:pt x="56" y="0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57"/>
                    <a:pt x="63" y="78"/>
                    <a:pt x="81" y="8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2" name="Shape 282"/>
            <p:cNvSpPr/>
            <p:nvPr/>
          </p:nvSpPr>
          <p:spPr>
            <a:xfrm>
              <a:off x="6525" y="2100"/>
              <a:ext cx="188" cy="164"/>
            </a:xfrm>
            <a:custGeom>
              <a:avLst/>
              <a:gdLst/>
              <a:ahLst/>
              <a:cxnLst/>
              <a:rect l="0" t="0" r="0" b="0"/>
              <a:pathLst>
                <a:path w="80" h="70" extrusionOk="0">
                  <a:moveTo>
                    <a:pt x="11" y="0"/>
                  </a:move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46"/>
                    <a:pt x="62" y="65"/>
                    <a:pt x="80" y="70"/>
                  </a:cubicBezTo>
                  <a:cubicBezTo>
                    <a:pt x="52" y="60"/>
                    <a:pt x="9" y="39"/>
                    <a:pt x="11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3" name="Shape 283"/>
            <p:cNvSpPr/>
            <p:nvPr/>
          </p:nvSpPr>
          <p:spPr>
            <a:xfrm>
              <a:off x="6531" y="1935"/>
              <a:ext cx="228" cy="106"/>
            </a:xfrm>
            <a:custGeom>
              <a:avLst/>
              <a:gdLst/>
              <a:ahLst/>
              <a:cxnLst/>
              <a:rect l="0" t="0" r="0" b="0"/>
              <a:pathLst>
                <a:path w="97" h="45" extrusionOk="0">
                  <a:moveTo>
                    <a:pt x="1" y="45"/>
                  </a:moveTo>
                  <a:cubicBezTo>
                    <a:pt x="1" y="44"/>
                    <a:pt x="0" y="44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6" y="0"/>
                    <a:pt x="79" y="16"/>
                    <a:pt x="97" y="22"/>
                  </a:cubicBezTo>
                  <a:cubicBezTo>
                    <a:pt x="68" y="16"/>
                    <a:pt x="20" y="10"/>
                    <a:pt x="1" y="4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4" name="Shape 284"/>
            <p:cNvSpPr/>
            <p:nvPr/>
          </p:nvSpPr>
          <p:spPr>
            <a:xfrm>
              <a:off x="5713" y="2014"/>
              <a:ext cx="140" cy="108"/>
            </a:xfrm>
            <a:custGeom>
              <a:avLst/>
              <a:gdLst/>
              <a:ahLst/>
              <a:cxnLst/>
              <a:rect l="0" t="0" r="0" b="0"/>
              <a:pathLst>
                <a:path w="60" h="46" extrusionOk="0">
                  <a:moveTo>
                    <a:pt x="1" y="43"/>
                  </a:moveTo>
                  <a:cubicBezTo>
                    <a:pt x="1" y="43"/>
                    <a:pt x="1" y="44"/>
                    <a:pt x="0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14" y="45"/>
                    <a:pt x="56" y="4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34" y="0"/>
                    <a:pt x="8" y="33"/>
                    <a:pt x="1" y="4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5" name="Shape 285"/>
            <p:cNvSpPr/>
            <p:nvPr/>
          </p:nvSpPr>
          <p:spPr>
            <a:xfrm>
              <a:off x="5811" y="1861"/>
              <a:ext cx="118" cy="154"/>
            </a:xfrm>
            <a:custGeom>
              <a:avLst/>
              <a:gdLst/>
              <a:ahLst/>
              <a:cxnLst/>
              <a:rect l="0" t="0" r="0" b="0"/>
              <a:pathLst>
                <a:path w="50" h="65" extrusionOk="0">
                  <a:moveTo>
                    <a:pt x="21" y="1"/>
                  </a:moveTo>
                  <a:cubicBezTo>
                    <a:pt x="21" y="0"/>
                    <a:pt x="21" y="0"/>
                    <a:pt x="20" y="0"/>
                  </a:cubicBezTo>
                  <a:cubicBezTo>
                    <a:pt x="20" y="0"/>
                    <a:pt x="20" y="1"/>
                    <a:pt x="20" y="1"/>
                  </a:cubicBezTo>
                  <a:cubicBezTo>
                    <a:pt x="15" y="12"/>
                    <a:pt x="0" y="51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50" y="46"/>
                    <a:pt x="28" y="11"/>
                    <a:pt x="21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6" name="Shape 286"/>
            <p:cNvSpPr/>
            <p:nvPr/>
          </p:nvSpPr>
          <p:spPr>
            <a:xfrm>
              <a:off x="5861" y="1863"/>
              <a:ext cx="65" cy="148"/>
            </a:xfrm>
            <a:custGeom>
              <a:avLst/>
              <a:gdLst/>
              <a:ahLst/>
              <a:cxnLst/>
              <a:rect l="0" t="0" r="0" b="0"/>
              <a:pathLst>
                <a:path w="28" h="63" extrusionOk="0">
                  <a:moveTo>
                    <a:pt x="4" y="62"/>
                  </a:moveTo>
                  <a:cubicBezTo>
                    <a:pt x="4" y="63"/>
                    <a:pt x="5" y="63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28" y="45"/>
                    <a:pt x="7" y="10"/>
                    <a:pt x="0" y="0"/>
                  </a:cubicBezTo>
                  <a:cubicBezTo>
                    <a:pt x="9" y="16"/>
                    <a:pt x="21" y="44"/>
                    <a:pt x="4" y="6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7" name="Shape 287"/>
            <p:cNvSpPr/>
            <p:nvPr/>
          </p:nvSpPr>
          <p:spPr>
            <a:xfrm>
              <a:off x="5702" y="1937"/>
              <a:ext cx="132" cy="111"/>
            </a:xfrm>
            <a:custGeom>
              <a:avLst/>
              <a:gdLst/>
              <a:ahLst/>
              <a:cxnLst/>
              <a:rect l="0" t="0" r="0" b="0"/>
              <a:pathLst>
                <a:path w="56" h="47" extrusionOk="0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7" y="12"/>
                    <a:pt x="29" y="47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5" y="4"/>
                    <a:pt x="14" y="0"/>
                    <a:pt x="1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8" name="Shape 288"/>
            <p:cNvSpPr/>
            <p:nvPr/>
          </p:nvSpPr>
          <p:spPr>
            <a:xfrm>
              <a:off x="5706" y="1937"/>
              <a:ext cx="126" cy="80"/>
            </a:xfrm>
            <a:custGeom>
              <a:avLst/>
              <a:gdLst/>
              <a:ahLst/>
              <a:cxnLst/>
              <a:rect l="0" t="0" r="0" b="0"/>
              <a:pathLst>
                <a:path w="54" h="34" extrusionOk="0">
                  <a:moveTo>
                    <a:pt x="53" y="34"/>
                  </a:moveTo>
                  <a:cubicBezTo>
                    <a:pt x="53" y="34"/>
                    <a:pt x="54" y="34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3" y="4"/>
                    <a:pt x="12" y="1"/>
                    <a:pt x="0" y="0"/>
                  </a:cubicBezTo>
                  <a:cubicBezTo>
                    <a:pt x="19" y="2"/>
                    <a:pt x="49" y="9"/>
                    <a:pt x="53" y="3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89" name="Shape 289"/>
            <p:cNvSpPr/>
            <p:nvPr/>
          </p:nvSpPr>
          <p:spPr>
            <a:xfrm>
              <a:off x="5716" y="2050"/>
              <a:ext cx="135" cy="71"/>
            </a:xfrm>
            <a:custGeom>
              <a:avLst/>
              <a:gdLst/>
              <a:ahLst/>
              <a:cxnLst/>
              <a:rect l="0" t="0" r="0" b="0"/>
              <a:pathLst>
                <a:path w="57" h="30" extrusionOk="0">
                  <a:moveTo>
                    <a:pt x="56" y="0"/>
                  </a:moveTo>
                  <a:cubicBezTo>
                    <a:pt x="56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3" y="30"/>
                    <a:pt x="12" y="29"/>
                    <a:pt x="0" y="28"/>
                  </a:cubicBezTo>
                  <a:cubicBezTo>
                    <a:pt x="18" y="28"/>
                    <a:pt x="49" y="25"/>
                    <a:pt x="56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0" name="Shape 290"/>
            <p:cNvSpPr/>
            <p:nvPr/>
          </p:nvSpPr>
          <p:spPr>
            <a:xfrm>
              <a:off x="6040" y="1303"/>
              <a:ext cx="111" cy="144"/>
            </a:xfrm>
            <a:custGeom>
              <a:avLst/>
              <a:gdLst/>
              <a:ahLst/>
              <a:cxnLst/>
              <a:rect l="0" t="0" r="0" b="0"/>
              <a:pathLst>
                <a:path w="47" h="61" extrusionOk="0">
                  <a:moveTo>
                    <a:pt x="7" y="1"/>
                  </a:move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4" y="13"/>
                    <a:pt x="0" y="55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47" y="37"/>
                    <a:pt x="17" y="8"/>
                    <a:pt x="7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1" name="Shape 291"/>
            <p:cNvSpPr/>
            <p:nvPr/>
          </p:nvSpPr>
          <p:spPr>
            <a:xfrm>
              <a:off x="6145" y="1413"/>
              <a:ext cx="155" cy="118"/>
            </a:xfrm>
            <a:custGeom>
              <a:avLst/>
              <a:gdLst/>
              <a:ahLst/>
              <a:cxnLst/>
              <a:rect l="0" t="0" r="0" b="0"/>
              <a:pathLst>
                <a:path w="66" h="50" extrusionOk="0">
                  <a:moveTo>
                    <a:pt x="65" y="25"/>
                  </a:moveTo>
                  <a:cubicBezTo>
                    <a:pt x="65" y="25"/>
                    <a:pt x="66" y="24"/>
                    <a:pt x="66" y="24"/>
                  </a:cubicBezTo>
                  <a:cubicBezTo>
                    <a:pt x="66" y="24"/>
                    <a:pt x="65" y="24"/>
                    <a:pt x="65" y="23"/>
                  </a:cubicBezTo>
                  <a:cubicBezTo>
                    <a:pt x="54" y="18"/>
                    <a:pt x="16" y="0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7" y="50"/>
                    <a:pt x="54" y="31"/>
                    <a:pt x="65" y="2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2" name="Shape 292"/>
            <p:cNvSpPr/>
            <p:nvPr/>
          </p:nvSpPr>
          <p:spPr>
            <a:xfrm>
              <a:off x="6147" y="1468"/>
              <a:ext cx="150" cy="59"/>
            </a:xfrm>
            <a:custGeom>
              <a:avLst/>
              <a:gdLst/>
              <a:ahLst/>
              <a:cxnLst/>
              <a:rect l="0" t="0" r="0" b="0"/>
              <a:pathLst>
                <a:path w="64" h="25" extrusionOk="0">
                  <a:moveTo>
                    <a:pt x="1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25"/>
                    <a:pt x="53" y="7"/>
                    <a:pt x="64" y="1"/>
                  </a:cubicBezTo>
                  <a:cubicBezTo>
                    <a:pt x="47" y="9"/>
                    <a:pt x="18" y="19"/>
                    <a:pt x="1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3" name="Shape 293"/>
            <p:cNvSpPr/>
            <p:nvPr/>
          </p:nvSpPr>
          <p:spPr>
            <a:xfrm>
              <a:off x="6120" y="1306"/>
              <a:ext cx="118" cy="129"/>
            </a:xfrm>
            <a:custGeom>
              <a:avLst/>
              <a:gdLst/>
              <a:ahLst/>
              <a:cxnLst/>
              <a:rect l="0" t="0" r="0" b="0"/>
              <a:pathLst>
                <a:path w="50" h="55" extrusionOk="0">
                  <a:moveTo>
                    <a:pt x="50" y="2"/>
                  </a:moveTo>
                  <a:cubicBezTo>
                    <a:pt x="50" y="1"/>
                    <a:pt x="50" y="1"/>
                    <a:pt x="50" y="0"/>
                  </a:cubicBezTo>
                  <a:cubicBezTo>
                    <a:pt x="49" y="1"/>
                    <a:pt x="49" y="1"/>
                    <a:pt x="48" y="1"/>
                  </a:cubicBezTo>
                  <a:cubicBezTo>
                    <a:pt x="37" y="6"/>
                    <a:pt x="0" y="25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1" y="55"/>
                    <a:pt x="48" y="14"/>
                    <a:pt x="50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4" name="Shape 294"/>
            <p:cNvSpPr/>
            <p:nvPr/>
          </p:nvSpPr>
          <p:spPr>
            <a:xfrm>
              <a:off x="6147" y="1310"/>
              <a:ext cx="90" cy="123"/>
            </a:xfrm>
            <a:custGeom>
              <a:avLst/>
              <a:gdLst/>
              <a:ahLst/>
              <a:cxnLst/>
              <a:rect l="0" t="0" r="0" b="0"/>
              <a:pathLst>
                <a:path w="38" h="52" extrusionOk="0">
                  <a:moveTo>
                    <a:pt x="0" y="50"/>
                  </a:moveTo>
                  <a:cubicBezTo>
                    <a:pt x="0" y="50"/>
                    <a:pt x="0" y="50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0" y="52"/>
                    <a:pt x="36" y="12"/>
                    <a:pt x="38" y="0"/>
                  </a:cubicBezTo>
                  <a:cubicBezTo>
                    <a:pt x="34" y="18"/>
                    <a:pt x="25" y="47"/>
                    <a:pt x="0" y="5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5" name="Shape 295"/>
            <p:cNvSpPr/>
            <p:nvPr/>
          </p:nvSpPr>
          <p:spPr>
            <a:xfrm>
              <a:off x="6040" y="1306"/>
              <a:ext cx="71" cy="140"/>
            </a:xfrm>
            <a:custGeom>
              <a:avLst/>
              <a:gdLst/>
              <a:ahLst/>
              <a:cxnLst/>
              <a:rect l="0" t="0" r="0" b="0"/>
              <a:pathLst>
                <a:path w="30" h="59" extrusionOk="0">
                  <a:moveTo>
                    <a:pt x="30" y="58"/>
                  </a:moveTo>
                  <a:cubicBezTo>
                    <a:pt x="30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0" y="53"/>
                    <a:pt x="5" y="12"/>
                    <a:pt x="7" y="0"/>
                  </a:cubicBezTo>
                  <a:cubicBezTo>
                    <a:pt x="5" y="18"/>
                    <a:pt x="6" y="49"/>
                    <a:pt x="30" y="5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6" name="Shape 296"/>
            <p:cNvSpPr/>
            <p:nvPr/>
          </p:nvSpPr>
          <p:spPr>
            <a:xfrm>
              <a:off x="6468" y="1651"/>
              <a:ext cx="191" cy="146"/>
            </a:xfrm>
            <a:custGeom>
              <a:avLst/>
              <a:gdLst/>
              <a:ahLst/>
              <a:cxnLst/>
              <a:rect l="0" t="0" r="0" b="0"/>
              <a:pathLst>
                <a:path w="81" h="62" extrusionOk="0">
                  <a:moveTo>
                    <a:pt x="1" y="49"/>
                  </a:moveTo>
                  <a:cubicBezTo>
                    <a:pt x="1" y="49"/>
                    <a:pt x="0" y="50"/>
                    <a:pt x="0" y="50"/>
                  </a:cubicBezTo>
                  <a:cubicBezTo>
                    <a:pt x="1" y="50"/>
                    <a:pt x="1" y="50"/>
                    <a:pt x="2" y="51"/>
                  </a:cubicBezTo>
                  <a:cubicBezTo>
                    <a:pt x="17" y="54"/>
                    <a:pt x="71" y="62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51" y="0"/>
                    <a:pt x="12" y="37"/>
                    <a:pt x="1" y="4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7" name="Shape 297"/>
            <p:cNvSpPr/>
            <p:nvPr/>
          </p:nvSpPr>
          <p:spPr>
            <a:xfrm>
              <a:off x="6619" y="1464"/>
              <a:ext cx="152" cy="200"/>
            </a:xfrm>
            <a:custGeom>
              <a:avLst/>
              <a:gdLst/>
              <a:ahLst/>
              <a:cxnLst/>
              <a:rect l="0" t="0" r="0" b="0"/>
              <a:pathLst>
                <a:path w="65" h="85" extrusionOk="0">
                  <a:moveTo>
                    <a:pt x="36" y="2"/>
                  </a:moveTo>
                  <a:cubicBezTo>
                    <a:pt x="35" y="2"/>
                    <a:pt x="35" y="1"/>
                    <a:pt x="35" y="0"/>
                  </a:cubicBezTo>
                  <a:cubicBezTo>
                    <a:pt x="34" y="1"/>
                    <a:pt x="34" y="2"/>
                    <a:pt x="34" y="2"/>
                  </a:cubicBezTo>
                  <a:cubicBezTo>
                    <a:pt x="25" y="16"/>
                    <a:pt x="0" y="63"/>
                    <a:pt x="31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65" y="66"/>
                    <a:pt x="43" y="16"/>
                    <a:pt x="36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8" name="Shape 298"/>
            <p:cNvSpPr/>
            <p:nvPr/>
          </p:nvSpPr>
          <p:spPr>
            <a:xfrm>
              <a:off x="6687" y="1468"/>
              <a:ext cx="82" cy="193"/>
            </a:xfrm>
            <a:custGeom>
              <a:avLst/>
              <a:gdLst/>
              <a:ahLst/>
              <a:cxnLst/>
              <a:rect l="0" t="0" r="0" b="0"/>
              <a:pathLst>
                <a:path w="35" h="82" extrusionOk="0">
                  <a:moveTo>
                    <a:pt x="0" y="81"/>
                  </a:moveTo>
                  <a:cubicBezTo>
                    <a:pt x="1" y="81"/>
                    <a:pt x="1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35" y="63"/>
                    <a:pt x="13" y="14"/>
                    <a:pt x="6" y="0"/>
                  </a:cubicBezTo>
                  <a:cubicBezTo>
                    <a:pt x="15" y="22"/>
                    <a:pt x="26" y="61"/>
                    <a:pt x="0" y="8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299" name="Shape 299"/>
            <p:cNvSpPr/>
            <p:nvPr/>
          </p:nvSpPr>
          <p:spPr>
            <a:xfrm>
              <a:off x="6487" y="1532"/>
              <a:ext cx="165" cy="155"/>
            </a:xfrm>
            <a:custGeom>
              <a:avLst/>
              <a:gdLst/>
              <a:ahLst/>
              <a:cxnLst/>
              <a:rect l="0" t="0" r="0" b="0"/>
              <a:pathLst>
                <a:path w="70" h="66" extrusionOk="0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7" y="17"/>
                    <a:pt x="29" y="66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70" y="16"/>
                    <a:pt x="18" y="4"/>
                    <a:pt x="2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0" name="Shape 300"/>
            <p:cNvSpPr/>
            <p:nvPr/>
          </p:nvSpPr>
          <p:spPr>
            <a:xfrm>
              <a:off x="6491" y="1538"/>
              <a:ext cx="158" cy="123"/>
            </a:xfrm>
            <a:custGeom>
              <a:avLst/>
              <a:gdLst/>
              <a:ahLst/>
              <a:cxnLst/>
              <a:rect l="0" t="0" r="0" b="0"/>
              <a:pathLst>
                <a:path w="67" h="52" extrusionOk="0">
                  <a:moveTo>
                    <a:pt x="61" y="52"/>
                  </a:moveTo>
                  <a:cubicBezTo>
                    <a:pt x="62" y="52"/>
                    <a:pt x="62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7" y="14"/>
                    <a:pt x="15" y="2"/>
                    <a:pt x="0" y="0"/>
                  </a:cubicBezTo>
                  <a:cubicBezTo>
                    <a:pt x="23" y="5"/>
                    <a:pt x="60" y="20"/>
                    <a:pt x="61" y="5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1" name="Shape 301"/>
            <p:cNvSpPr/>
            <p:nvPr/>
          </p:nvSpPr>
          <p:spPr>
            <a:xfrm>
              <a:off x="6473" y="1707"/>
              <a:ext cx="183" cy="90"/>
            </a:xfrm>
            <a:custGeom>
              <a:avLst/>
              <a:gdLst/>
              <a:ahLst/>
              <a:cxnLst/>
              <a:rect l="0" t="0" r="0" b="0"/>
              <a:pathLst>
                <a:path w="78" h="38" extrusionOk="0">
                  <a:moveTo>
                    <a:pt x="77" y="0"/>
                  </a:moveTo>
                  <a:cubicBezTo>
                    <a:pt x="77" y="0"/>
                    <a:pt x="77" y="1"/>
                    <a:pt x="78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67" y="38"/>
                    <a:pt x="15" y="29"/>
                    <a:pt x="0" y="25"/>
                  </a:cubicBezTo>
                  <a:cubicBezTo>
                    <a:pt x="23" y="29"/>
                    <a:pt x="63" y="30"/>
                    <a:pt x="77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2" name="Shape 302"/>
            <p:cNvSpPr/>
            <p:nvPr/>
          </p:nvSpPr>
          <p:spPr>
            <a:xfrm>
              <a:off x="6106" y="1629"/>
              <a:ext cx="131" cy="170"/>
            </a:xfrm>
            <a:custGeom>
              <a:avLst/>
              <a:gdLst/>
              <a:ahLst/>
              <a:cxnLst/>
              <a:rect l="0" t="0" r="0" b="0"/>
              <a:pathLst>
                <a:path w="56" h="72" extrusionOk="0">
                  <a:moveTo>
                    <a:pt x="50" y="2"/>
                  </a:moveTo>
                  <a:cubicBezTo>
                    <a:pt x="50" y="1"/>
                    <a:pt x="50" y="1"/>
                    <a:pt x="50" y="0"/>
                  </a:cubicBezTo>
                  <a:cubicBezTo>
                    <a:pt x="50" y="0"/>
                    <a:pt x="49" y="1"/>
                    <a:pt x="49" y="1"/>
                  </a:cubicBezTo>
                  <a:cubicBezTo>
                    <a:pt x="37" y="10"/>
                    <a:pt x="0" y="43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56" y="66"/>
                    <a:pt x="52" y="16"/>
                    <a:pt x="50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3" name="Shape 303"/>
            <p:cNvSpPr/>
            <p:nvPr/>
          </p:nvSpPr>
          <p:spPr>
            <a:xfrm>
              <a:off x="6152" y="1828"/>
              <a:ext cx="150" cy="146"/>
            </a:xfrm>
            <a:custGeom>
              <a:avLst/>
              <a:gdLst/>
              <a:ahLst/>
              <a:cxnLst/>
              <a:rect l="0" t="0" r="0" b="0"/>
              <a:pathLst>
                <a:path w="64" h="62" extrusionOk="0">
                  <a:moveTo>
                    <a:pt x="62" y="61"/>
                  </a:moveTo>
                  <a:cubicBezTo>
                    <a:pt x="63" y="61"/>
                    <a:pt x="64" y="61"/>
                    <a:pt x="64" y="62"/>
                  </a:cubicBezTo>
                  <a:cubicBezTo>
                    <a:pt x="64" y="61"/>
                    <a:pt x="64" y="60"/>
                    <a:pt x="64" y="60"/>
                  </a:cubicBezTo>
                  <a:cubicBezTo>
                    <a:pt x="59" y="46"/>
                    <a:pt x="41" y="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0" y="45"/>
                    <a:pt x="48" y="58"/>
                    <a:pt x="62" y="6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4" name="Shape 304"/>
            <p:cNvSpPr/>
            <p:nvPr/>
          </p:nvSpPr>
          <p:spPr>
            <a:xfrm>
              <a:off x="6156" y="1850"/>
              <a:ext cx="144" cy="122"/>
            </a:xfrm>
            <a:custGeom>
              <a:avLst/>
              <a:gdLst/>
              <a:ahLst/>
              <a:cxnLst/>
              <a:rect l="0" t="0" r="0" b="0"/>
              <a:pathLst>
                <a:path w="61" h="52" extrusionOk="0">
                  <a:moveTo>
                    <a:pt x="7" y="0"/>
                  </a:moveTo>
                  <a:cubicBezTo>
                    <a:pt x="6" y="0"/>
                    <a:pt x="6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0" y="35"/>
                    <a:pt x="47" y="49"/>
                    <a:pt x="61" y="52"/>
                  </a:cubicBezTo>
                  <a:cubicBezTo>
                    <a:pt x="40" y="45"/>
                    <a:pt x="6" y="30"/>
                    <a:pt x="7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5" name="Shape 305"/>
            <p:cNvSpPr/>
            <p:nvPr/>
          </p:nvSpPr>
          <p:spPr>
            <a:xfrm>
              <a:off x="6199" y="1738"/>
              <a:ext cx="181" cy="139"/>
            </a:xfrm>
            <a:custGeom>
              <a:avLst/>
              <a:gdLst/>
              <a:ahLst/>
              <a:cxnLst/>
              <a:rect l="0" t="0" r="0" b="0"/>
              <a:pathLst>
                <a:path w="77" h="59" extrusionOk="0">
                  <a:moveTo>
                    <a:pt x="76" y="20"/>
                  </a:moveTo>
                  <a:cubicBezTo>
                    <a:pt x="76" y="19"/>
                    <a:pt x="77" y="19"/>
                    <a:pt x="77" y="18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62" y="13"/>
                    <a:pt x="14" y="0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25" y="59"/>
                    <a:pt x="65" y="29"/>
                    <a:pt x="76" y="2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6" name="Shape 306"/>
            <p:cNvSpPr/>
            <p:nvPr/>
          </p:nvSpPr>
          <p:spPr>
            <a:xfrm>
              <a:off x="6202" y="1782"/>
              <a:ext cx="173" cy="92"/>
            </a:xfrm>
            <a:custGeom>
              <a:avLst/>
              <a:gdLst/>
              <a:ahLst/>
              <a:cxnLst/>
              <a:rect l="0" t="0" r="0" b="0"/>
              <a:pathLst>
                <a:path w="74" h="39" extrusionOk="0">
                  <a:moveTo>
                    <a:pt x="1" y="13"/>
                  </a:moveTo>
                  <a:cubicBezTo>
                    <a:pt x="1" y="13"/>
                    <a:pt x="1" y="13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5" y="39"/>
                    <a:pt x="63" y="9"/>
                    <a:pt x="74" y="0"/>
                  </a:cubicBezTo>
                  <a:cubicBezTo>
                    <a:pt x="57" y="13"/>
                    <a:pt x="25" y="31"/>
                    <a:pt x="1" y="1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7" name="Shape 307"/>
            <p:cNvSpPr/>
            <p:nvPr/>
          </p:nvSpPr>
          <p:spPr>
            <a:xfrm>
              <a:off x="6109" y="1635"/>
              <a:ext cx="115" cy="163"/>
            </a:xfrm>
            <a:custGeom>
              <a:avLst/>
              <a:gdLst/>
              <a:ahLst/>
              <a:cxnLst/>
              <a:rect l="0" t="0" r="0" b="0"/>
              <a:pathLst>
                <a:path w="49" h="69" extrusionOk="0">
                  <a:moveTo>
                    <a:pt x="22" y="69"/>
                  </a:moveTo>
                  <a:cubicBezTo>
                    <a:pt x="21" y="69"/>
                    <a:pt x="21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0" y="40"/>
                    <a:pt x="37" y="9"/>
                    <a:pt x="49" y="0"/>
                  </a:cubicBezTo>
                  <a:cubicBezTo>
                    <a:pt x="32" y="15"/>
                    <a:pt x="8" y="42"/>
                    <a:pt x="22" y="6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8" name="Shape 308"/>
            <p:cNvSpPr/>
            <p:nvPr/>
          </p:nvSpPr>
          <p:spPr>
            <a:xfrm>
              <a:off x="5875" y="1472"/>
              <a:ext cx="1332" cy="1636"/>
            </a:xfrm>
            <a:custGeom>
              <a:avLst/>
              <a:gdLst/>
              <a:ahLst/>
              <a:cxnLst/>
              <a:rect l="0" t="0" r="0" b="0"/>
              <a:pathLst>
                <a:path w="564" h="693" extrusionOk="0">
                  <a:moveTo>
                    <a:pt x="561" y="250"/>
                  </a:moveTo>
                  <a:cubicBezTo>
                    <a:pt x="541" y="335"/>
                    <a:pt x="455" y="362"/>
                    <a:pt x="379" y="398"/>
                  </a:cubicBezTo>
                  <a:cubicBezTo>
                    <a:pt x="379" y="398"/>
                    <a:pt x="379" y="398"/>
                    <a:pt x="379" y="398"/>
                  </a:cubicBezTo>
                  <a:cubicBezTo>
                    <a:pt x="389" y="376"/>
                    <a:pt x="393" y="349"/>
                    <a:pt x="401" y="326"/>
                  </a:cubicBezTo>
                  <a:cubicBezTo>
                    <a:pt x="399" y="326"/>
                    <a:pt x="399" y="326"/>
                    <a:pt x="399" y="326"/>
                  </a:cubicBezTo>
                  <a:cubicBezTo>
                    <a:pt x="387" y="354"/>
                    <a:pt x="379" y="387"/>
                    <a:pt x="359" y="409"/>
                  </a:cubicBezTo>
                  <a:cubicBezTo>
                    <a:pt x="347" y="415"/>
                    <a:pt x="336" y="422"/>
                    <a:pt x="325" y="429"/>
                  </a:cubicBezTo>
                  <a:cubicBezTo>
                    <a:pt x="306" y="444"/>
                    <a:pt x="306" y="444"/>
                    <a:pt x="306" y="444"/>
                  </a:cubicBezTo>
                  <a:cubicBezTo>
                    <a:pt x="293" y="456"/>
                    <a:pt x="282" y="469"/>
                    <a:pt x="274" y="485"/>
                  </a:cubicBezTo>
                  <a:cubicBezTo>
                    <a:pt x="274" y="484"/>
                    <a:pt x="274" y="484"/>
                    <a:pt x="274" y="484"/>
                  </a:cubicBezTo>
                  <a:cubicBezTo>
                    <a:pt x="255" y="435"/>
                    <a:pt x="226" y="388"/>
                    <a:pt x="197" y="341"/>
                  </a:cubicBezTo>
                  <a:cubicBezTo>
                    <a:pt x="201" y="307"/>
                    <a:pt x="217" y="283"/>
                    <a:pt x="235" y="258"/>
                  </a:cubicBezTo>
                  <a:cubicBezTo>
                    <a:pt x="265" y="225"/>
                    <a:pt x="265" y="225"/>
                    <a:pt x="265" y="225"/>
                  </a:cubicBezTo>
                  <a:cubicBezTo>
                    <a:pt x="274" y="216"/>
                    <a:pt x="283" y="207"/>
                    <a:pt x="292" y="198"/>
                  </a:cubicBezTo>
                  <a:cubicBezTo>
                    <a:pt x="320" y="177"/>
                    <a:pt x="359" y="177"/>
                    <a:pt x="394" y="172"/>
                  </a:cubicBezTo>
                  <a:cubicBezTo>
                    <a:pt x="394" y="169"/>
                    <a:pt x="394" y="169"/>
                    <a:pt x="394" y="169"/>
                  </a:cubicBezTo>
                  <a:cubicBezTo>
                    <a:pt x="369" y="172"/>
                    <a:pt x="341" y="170"/>
                    <a:pt x="316" y="174"/>
                  </a:cubicBezTo>
                  <a:cubicBezTo>
                    <a:pt x="357" y="133"/>
                    <a:pt x="391" y="88"/>
                    <a:pt x="386" y="23"/>
                  </a:cubicBezTo>
                  <a:cubicBezTo>
                    <a:pt x="383" y="22"/>
                    <a:pt x="383" y="22"/>
                    <a:pt x="383" y="22"/>
                  </a:cubicBezTo>
                  <a:cubicBezTo>
                    <a:pt x="385" y="130"/>
                    <a:pt x="265" y="176"/>
                    <a:pt x="201" y="250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0" y="278"/>
                    <a:pt x="175" y="288"/>
                    <a:pt x="171" y="299"/>
                  </a:cubicBezTo>
                  <a:cubicBezTo>
                    <a:pt x="113" y="204"/>
                    <a:pt x="65" y="108"/>
                    <a:pt x="105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53" y="104"/>
                    <a:pt x="84" y="198"/>
                    <a:pt x="127" y="291"/>
                  </a:cubicBezTo>
                  <a:cubicBezTo>
                    <a:pt x="88" y="269"/>
                    <a:pt x="41" y="257"/>
                    <a:pt x="1" y="237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54" y="271"/>
                    <a:pt x="119" y="294"/>
                    <a:pt x="153" y="344"/>
                  </a:cubicBezTo>
                  <a:cubicBezTo>
                    <a:pt x="162" y="365"/>
                    <a:pt x="172" y="385"/>
                    <a:pt x="182" y="405"/>
                  </a:cubicBezTo>
                  <a:cubicBezTo>
                    <a:pt x="211" y="480"/>
                    <a:pt x="211" y="480"/>
                    <a:pt x="211" y="480"/>
                  </a:cubicBezTo>
                  <a:cubicBezTo>
                    <a:pt x="231" y="547"/>
                    <a:pt x="233" y="615"/>
                    <a:pt x="195" y="689"/>
                  </a:cubicBezTo>
                  <a:cubicBezTo>
                    <a:pt x="206" y="691"/>
                    <a:pt x="221" y="693"/>
                    <a:pt x="237" y="693"/>
                  </a:cubicBezTo>
                  <a:cubicBezTo>
                    <a:pt x="250" y="693"/>
                    <a:pt x="262" y="692"/>
                    <a:pt x="271" y="690"/>
                  </a:cubicBezTo>
                  <a:cubicBezTo>
                    <a:pt x="296" y="639"/>
                    <a:pt x="300" y="590"/>
                    <a:pt x="291" y="543"/>
                  </a:cubicBezTo>
                  <a:cubicBezTo>
                    <a:pt x="301" y="495"/>
                    <a:pt x="327" y="471"/>
                    <a:pt x="356" y="446"/>
                  </a:cubicBezTo>
                  <a:cubicBezTo>
                    <a:pt x="395" y="421"/>
                    <a:pt x="395" y="421"/>
                    <a:pt x="395" y="421"/>
                  </a:cubicBezTo>
                  <a:cubicBezTo>
                    <a:pt x="406" y="414"/>
                    <a:pt x="417" y="407"/>
                    <a:pt x="428" y="401"/>
                  </a:cubicBezTo>
                  <a:cubicBezTo>
                    <a:pt x="458" y="383"/>
                    <a:pt x="458" y="383"/>
                    <a:pt x="458" y="383"/>
                  </a:cubicBezTo>
                  <a:cubicBezTo>
                    <a:pt x="508" y="352"/>
                    <a:pt x="553" y="316"/>
                    <a:pt x="564" y="251"/>
                  </a:cubicBezTo>
                  <a:lnTo>
                    <a:pt x="561" y="2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09" name="Shape 309"/>
            <p:cNvSpPr/>
            <p:nvPr/>
          </p:nvSpPr>
          <p:spPr>
            <a:xfrm>
              <a:off x="5890" y="2043"/>
              <a:ext cx="301" cy="154"/>
            </a:xfrm>
            <a:custGeom>
              <a:avLst/>
              <a:gdLst/>
              <a:ahLst/>
              <a:cxnLst/>
              <a:rect l="0" t="0" r="0" b="0"/>
              <a:pathLst>
                <a:path w="128" h="65" extrusionOk="0">
                  <a:moveTo>
                    <a:pt x="0" y="0"/>
                  </a:moveTo>
                  <a:cubicBezTo>
                    <a:pt x="42" y="22"/>
                    <a:pt x="92" y="37"/>
                    <a:pt x="128" y="65"/>
                  </a:cubicBezTo>
                  <a:cubicBezTo>
                    <a:pt x="127" y="61"/>
                    <a:pt x="125" y="58"/>
                    <a:pt x="124" y="55"/>
                  </a:cubicBezTo>
                  <a:cubicBezTo>
                    <a:pt x="87" y="32"/>
                    <a:pt x="40" y="19"/>
                    <a:pt x="0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10" name="Shape 310"/>
            <p:cNvSpPr/>
            <p:nvPr/>
          </p:nvSpPr>
          <p:spPr>
            <a:xfrm>
              <a:off x="6079" y="1828"/>
              <a:ext cx="637" cy="1281"/>
            </a:xfrm>
            <a:custGeom>
              <a:avLst/>
              <a:gdLst/>
              <a:ahLst/>
              <a:cxnLst/>
              <a:rect l="0" t="0" r="0" b="0"/>
              <a:pathLst>
                <a:path w="270" h="542" extrusionOk="0">
                  <a:moveTo>
                    <a:pt x="5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0" y="182"/>
                    <a:pt x="243" y="346"/>
                    <a:pt x="145" y="542"/>
                  </a:cubicBezTo>
                  <a:cubicBezTo>
                    <a:pt x="147" y="542"/>
                    <a:pt x="149" y="542"/>
                    <a:pt x="151" y="542"/>
                  </a:cubicBezTo>
                  <a:cubicBezTo>
                    <a:pt x="159" y="542"/>
                    <a:pt x="167" y="541"/>
                    <a:pt x="175" y="541"/>
                  </a:cubicBezTo>
                  <a:cubicBezTo>
                    <a:pt x="270" y="341"/>
                    <a:pt x="49" y="181"/>
                    <a:pt x="5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11" name="Shape 311"/>
            <p:cNvSpPr/>
            <p:nvPr/>
          </p:nvSpPr>
          <p:spPr>
            <a:xfrm>
              <a:off x="6530" y="2244"/>
              <a:ext cx="578" cy="448"/>
            </a:xfrm>
            <a:custGeom>
              <a:avLst/>
              <a:gdLst/>
              <a:ahLst/>
              <a:cxnLst/>
              <a:rect l="0" t="0" r="0" b="0"/>
              <a:pathLst>
                <a:path w="245" h="190" extrusionOk="0">
                  <a:moveTo>
                    <a:pt x="245" y="2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173" y="65"/>
                    <a:pt x="42" y="77"/>
                    <a:pt x="0" y="166"/>
                  </a:cubicBezTo>
                  <a:cubicBezTo>
                    <a:pt x="8" y="190"/>
                    <a:pt x="8" y="190"/>
                    <a:pt x="8" y="190"/>
                  </a:cubicBezTo>
                  <a:cubicBezTo>
                    <a:pt x="39" y="88"/>
                    <a:pt x="174" y="71"/>
                    <a:pt x="245" y="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12" name="Shape 312"/>
            <p:cNvSpPr/>
            <p:nvPr/>
          </p:nvSpPr>
          <p:spPr>
            <a:xfrm>
              <a:off x="6288" y="1721"/>
              <a:ext cx="448" cy="515"/>
            </a:xfrm>
            <a:custGeom>
              <a:avLst/>
              <a:gdLst/>
              <a:ahLst/>
              <a:cxnLst/>
              <a:rect l="0" t="0" r="0" b="0"/>
              <a:pathLst>
                <a:path w="190" h="218" extrusionOk="0">
                  <a:moveTo>
                    <a:pt x="190" y="1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139" y="74"/>
                    <a:pt x="29" y="116"/>
                    <a:pt x="0" y="200"/>
                  </a:cubicBezTo>
                  <a:cubicBezTo>
                    <a:pt x="4" y="206"/>
                    <a:pt x="7" y="212"/>
                    <a:pt x="11" y="218"/>
                  </a:cubicBezTo>
                  <a:cubicBezTo>
                    <a:pt x="30" y="126"/>
                    <a:pt x="141" y="79"/>
                    <a:pt x="190" y="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313" name="Shape 313"/>
          <p:cNvSpPr/>
          <p:nvPr/>
        </p:nvSpPr>
        <p:spPr>
          <a:xfrm>
            <a:off x="6527800" y="6400800"/>
            <a:ext cx="1828800" cy="215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" sz="1100" b="0" i="0" u="none" strike="noStrike" cap="none" baseline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Community</a:t>
            </a:r>
          </a:p>
        </p:txBody>
      </p:sp>
      <p:grpSp>
        <p:nvGrpSpPr>
          <p:cNvPr id="314" name="Shape 314"/>
          <p:cNvGrpSpPr/>
          <p:nvPr/>
        </p:nvGrpSpPr>
        <p:grpSpPr>
          <a:xfrm>
            <a:off x="7112844" y="6362700"/>
            <a:ext cx="282867" cy="261938"/>
            <a:chOff x="-1232" y="2400"/>
            <a:chExt cx="446" cy="413"/>
          </a:xfrm>
        </p:grpSpPr>
        <p:sp>
          <p:nvSpPr>
            <p:cNvPr id="315" name="Shape 315"/>
            <p:cNvSpPr/>
            <p:nvPr/>
          </p:nvSpPr>
          <p:spPr>
            <a:xfrm>
              <a:off x="-1232" y="2400"/>
              <a:ext cx="236" cy="407"/>
            </a:xfrm>
            <a:custGeom>
              <a:avLst/>
              <a:gdLst/>
              <a:ahLst/>
              <a:cxnLst/>
              <a:rect l="0" t="0" r="0" b="0"/>
              <a:pathLst>
                <a:path w="100" h="173" extrusionOk="0">
                  <a:moveTo>
                    <a:pt x="98" y="77"/>
                  </a:moveTo>
                  <a:cubicBezTo>
                    <a:pt x="88" y="64"/>
                    <a:pt x="79" y="51"/>
                    <a:pt x="70" y="39"/>
                  </a:cubicBezTo>
                  <a:cubicBezTo>
                    <a:pt x="68" y="36"/>
                    <a:pt x="65" y="35"/>
                    <a:pt x="61" y="35"/>
                  </a:cubicBezTo>
                  <a:cubicBezTo>
                    <a:pt x="59" y="35"/>
                    <a:pt x="57" y="35"/>
                    <a:pt x="54" y="35"/>
                  </a:cubicBezTo>
                  <a:cubicBezTo>
                    <a:pt x="54" y="35"/>
                    <a:pt x="54" y="35"/>
                    <a:pt x="54" y="34"/>
                  </a:cubicBezTo>
                  <a:cubicBezTo>
                    <a:pt x="54" y="33"/>
                    <a:pt x="54" y="33"/>
                    <a:pt x="54" y="32"/>
                  </a:cubicBezTo>
                  <a:cubicBezTo>
                    <a:pt x="54" y="31"/>
                    <a:pt x="54" y="31"/>
                    <a:pt x="54" y="30"/>
                  </a:cubicBezTo>
                  <a:cubicBezTo>
                    <a:pt x="60" y="27"/>
                    <a:pt x="65" y="21"/>
                    <a:pt x="65" y="15"/>
                  </a:cubicBezTo>
                  <a:cubicBezTo>
                    <a:pt x="65" y="6"/>
                    <a:pt x="57" y="0"/>
                    <a:pt x="48" y="1"/>
                  </a:cubicBezTo>
                  <a:cubicBezTo>
                    <a:pt x="40" y="2"/>
                    <a:pt x="32" y="9"/>
                    <a:pt x="32" y="18"/>
                  </a:cubicBezTo>
                  <a:cubicBezTo>
                    <a:pt x="31" y="24"/>
                    <a:pt x="35" y="29"/>
                    <a:pt x="41" y="31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3"/>
                    <a:pt x="42" y="34"/>
                    <a:pt x="42" y="35"/>
                  </a:cubicBezTo>
                  <a:cubicBezTo>
                    <a:pt x="42" y="36"/>
                    <a:pt x="42" y="36"/>
                    <a:pt x="41" y="36"/>
                  </a:cubicBezTo>
                  <a:cubicBezTo>
                    <a:pt x="39" y="36"/>
                    <a:pt x="37" y="37"/>
                    <a:pt x="35" y="37"/>
                  </a:cubicBezTo>
                  <a:cubicBezTo>
                    <a:pt x="31" y="37"/>
                    <a:pt x="28" y="39"/>
                    <a:pt x="26" y="42"/>
                  </a:cubicBezTo>
                  <a:cubicBezTo>
                    <a:pt x="18" y="55"/>
                    <a:pt x="10" y="69"/>
                    <a:pt x="2" y="82"/>
                  </a:cubicBezTo>
                  <a:cubicBezTo>
                    <a:pt x="0" y="85"/>
                    <a:pt x="1" y="88"/>
                    <a:pt x="3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7" y="92"/>
                    <a:pt x="10" y="91"/>
                    <a:pt x="11" y="88"/>
                  </a:cubicBezTo>
                  <a:cubicBezTo>
                    <a:pt x="17" y="78"/>
                    <a:pt x="23" y="6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71"/>
                    <a:pt x="29" y="86"/>
                    <a:pt x="29" y="100"/>
                  </a:cubicBezTo>
                  <a:cubicBezTo>
                    <a:pt x="28" y="123"/>
                    <a:pt x="26" y="145"/>
                    <a:pt x="26" y="167"/>
                  </a:cubicBezTo>
                  <a:cubicBezTo>
                    <a:pt x="26" y="170"/>
                    <a:pt x="29" y="173"/>
                    <a:pt x="32" y="173"/>
                  </a:cubicBezTo>
                  <a:cubicBezTo>
                    <a:pt x="32" y="173"/>
                    <a:pt x="32" y="173"/>
                    <a:pt x="33" y="173"/>
                  </a:cubicBezTo>
                  <a:cubicBezTo>
                    <a:pt x="36" y="173"/>
                    <a:pt x="39" y="171"/>
                    <a:pt x="39" y="167"/>
                  </a:cubicBezTo>
                  <a:cubicBezTo>
                    <a:pt x="41" y="146"/>
                    <a:pt x="43" y="125"/>
                    <a:pt x="46" y="103"/>
                  </a:cubicBezTo>
                  <a:cubicBezTo>
                    <a:pt x="46" y="102"/>
                    <a:pt x="46" y="102"/>
                    <a:pt x="47" y="102"/>
                  </a:cubicBezTo>
                  <a:cubicBezTo>
                    <a:pt x="48" y="102"/>
                    <a:pt x="49" y="102"/>
                    <a:pt x="50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5" y="124"/>
                    <a:pt x="60" y="146"/>
                    <a:pt x="64" y="167"/>
                  </a:cubicBezTo>
                  <a:cubicBezTo>
                    <a:pt x="65" y="171"/>
                    <a:pt x="68" y="173"/>
                    <a:pt x="72" y="173"/>
                  </a:cubicBezTo>
                  <a:cubicBezTo>
                    <a:pt x="72" y="173"/>
                    <a:pt x="73" y="173"/>
                    <a:pt x="73" y="173"/>
                  </a:cubicBezTo>
                  <a:cubicBezTo>
                    <a:pt x="76" y="173"/>
                    <a:pt x="79" y="170"/>
                    <a:pt x="78" y="167"/>
                  </a:cubicBezTo>
                  <a:cubicBezTo>
                    <a:pt x="75" y="145"/>
                    <a:pt x="71" y="122"/>
                    <a:pt x="68" y="98"/>
                  </a:cubicBezTo>
                  <a:cubicBezTo>
                    <a:pt x="68" y="84"/>
                    <a:pt x="67" y="69"/>
                    <a:pt x="67" y="55"/>
                  </a:cubicBezTo>
                  <a:cubicBezTo>
                    <a:pt x="67" y="54"/>
                    <a:pt x="67" y="54"/>
                    <a:pt x="68" y="55"/>
                  </a:cubicBezTo>
                  <a:cubicBezTo>
                    <a:pt x="74" y="64"/>
                    <a:pt x="81" y="74"/>
                    <a:pt x="87" y="84"/>
                  </a:cubicBezTo>
                  <a:cubicBezTo>
                    <a:pt x="89" y="87"/>
                    <a:pt x="93" y="88"/>
                    <a:pt x="95" y="86"/>
                  </a:cubicBezTo>
                  <a:cubicBezTo>
                    <a:pt x="96" y="86"/>
                    <a:pt x="96" y="86"/>
                    <a:pt x="96" y="85"/>
                  </a:cubicBezTo>
                  <a:cubicBezTo>
                    <a:pt x="99" y="84"/>
                    <a:pt x="100" y="80"/>
                    <a:pt x="98" y="7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16" name="Shape 316"/>
            <p:cNvSpPr/>
            <p:nvPr/>
          </p:nvSpPr>
          <p:spPr>
            <a:xfrm>
              <a:off x="-1025" y="2400"/>
              <a:ext cx="238" cy="413"/>
            </a:xfrm>
            <a:custGeom>
              <a:avLst/>
              <a:gdLst/>
              <a:ahLst/>
              <a:cxnLst/>
              <a:rect l="0" t="0" r="0" b="0"/>
              <a:pathLst>
                <a:path w="101" h="175" extrusionOk="0">
                  <a:moveTo>
                    <a:pt x="99" y="79"/>
                  </a:moveTo>
                  <a:cubicBezTo>
                    <a:pt x="90" y="66"/>
                    <a:pt x="81" y="53"/>
                    <a:pt x="72" y="40"/>
                  </a:cubicBezTo>
                  <a:cubicBezTo>
                    <a:pt x="70" y="37"/>
                    <a:pt x="66" y="36"/>
                    <a:pt x="63" y="36"/>
                  </a:cubicBezTo>
                  <a:cubicBezTo>
                    <a:pt x="61" y="36"/>
                    <a:pt x="59" y="36"/>
                    <a:pt x="56" y="36"/>
                  </a:cubicBezTo>
                  <a:cubicBezTo>
                    <a:pt x="56" y="36"/>
                    <a:pt x="56" y="35"/>
                    <a:pt x="55" y="35"/>
                  </a:cubicBezTo>
                  <a:cubicBezTo>
                    <a:pt x="55" y="34"/>
                    <a:pt x="55" y="33"/>
                    <a:pt x="55" y="32"/>
                  </a:cubicBezTo>
                  <a:cubicBezTo>
                    <a:pt x="55" y="31"/>
                    <a:pt x="55" y="31"/>
                    <a:pt x="56" y="31"/>
                  </a:cubicBezTo>
                  <a:cubicBezTo>
                    <a:pt x="62" y="28"/>
                    <a:pt x="65" y="23"/>
                    <a:pt x="65" y="16"/>
                  </a:cubicBezTo>
                  <a:cubicBezTo>
                    <a:pt x="64" y="8"/>
                    <a:pt x="56" y="1"/>
                    <a:pt x="47" y="1"/>
                  </a:cubicBezTo>
                  <a:cubicBezTo>
                    <a:pt x="38" y="0"/>
                    <a:pt x="31" y="7"/>
                    <a:pt x="31" y="16"/>
                  </a:cubicBezTo>
                  <a:cubicBezTo>
                    <a:pt x="32" y="23"/>
                    <a:pt x="36" y="28"/>
                    <a:pt x="43" y="31"/>
                  </a:cubicBezTo>
                  <a:cubicBezTo>
                    <a:pt x="43" y="31"/>
                    <a:pt x="44" y="31"/>
                    <a:pt x="44" y="32"/>
                  </a:cubicBezTo>
                  <a:cubicBezTo>
                    <a:pt x="44" y="33"/>
                    <a:pt x="44" y="34"/>
                    <a:pt x="44" y="35"/>
                  </a:cubicBezTo>
                  <a:cubicBezTo>
                    <a:pt x="44" y="35"/>
                    <a:pt x="43" y="36"/>
                    <a:pt x="43" y="36"/>
                  </a:cubicBezTo>
                  <a:cubicBezTo>
                    <a:pt x="41" y="36"/>
                    <a:pt x="38" y="36"/>
                    <a:pt x="36" y="36"/>
                  </a:cubicBezTo>
                  <a:cubicBezTo>
                    <a:pt x="32" y="36"/>
                    <a:pt x="29" y="38"/>
                    <a:pt x="27" y="40"/>
                  </a:cubicBezTo>
                  <a:cubicBezTo>
                    <a:pt x="19" y="54"/>
                    <a:pt x="10" y="67"/>
                    <a:pt x="2" y="81"/>
                  </a:cubicBezTo>
                  <a:cubicBezTo>
                    <a:pt x="0" y="84"/>
                    <a:pt x="1" y="88"/>
                    <a:pt x="4" y="89"/>
                  </a:cubicBezTo>
                  <a:cubicBezTo>
                    <a:pt x="4" y="89"/>
                    <a:pt x="5" y="90"/>
                    <a:pt x="5" y="90"/>
                  </a:cubicBezTo>
                  <a:cubicBezTo>
                    <a:pt x="8" y="91"/>
                    <a:pt x="11" y="90"/>
                    <a:pt x="13" y="87"/>
                  </a:cubicBezTo>
                  <a:cubicBezTo>
                    <a:pt x="19" y="77"/>
                    <a:pt x="25" y="6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2" y="71"/>
                    <a:pt x="33" y="85"/>
                    <a:pt x="33" y="100"/>
                  </a:cubicBezTo>
                  <a:cubicBezTo>
                    <a:pt x="31" y="124"/>
                    <a:pt x="30" y="147"/>
                    <a:pt x="28" y="169"/>
                  </a:cubicBezTo>
                  <a:cubicBezTo>
                    <a:pt x="27" y="173"/>
                    <a:pt x="30" y="175"/>
                    <a:pt x="33" y="175"/>
                  </a:cubicBezTo>
                  <a:cubicBezTo>
                    <a:pt x="34" y="175"/>
                    <a:pt x="34" y="175"/>
                    <a:pt x="35" y="175"/>
                  </a:cubicBezTo>
                  <a:cubicBezTo>
                    <a:pt x="38" y="175"/>
                    <a:pt x="41" y="172"/>
                    <a:pt x="42" y="169"/>
                  </a:cubicBezTo>
                  <a:cubicBezTo>
                    <a:pt x="45" y="147"/>
                    <a:pt x="48" y="125"/>
                    <a:pt x="51" y="103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3" y="102"/>
                    <a:pt x="54" y="102"/>
                    <a:pt x="55" y="102"/>
                  </a:cubicBezTo>
                  <a:cubicBezTo>
                    <a:pt x="55" y="102"/>
                    <a:pt x="56" y="102"/>
                    <a:pt x="56" y="103"/>
                  </a:cubicBezTo>
                  <a:cubicBezTo>
                    <a:pt x="60" y="125"/>
                    <a:pt x="64" y="146"/>
                    <a:pt x="67" y="167"/>
                  </a:cubicBezTo>
                  <a:cubicBezTo>
                    <a:pt x="67" y="170"/>
                    <a:pt x="70" y="173"/>
                    <a:pt x="74" y="173"/>
                  </a:cubicBezTo>
                  <a:cubicBezTo>
                    <a:pt x="74" y="172"/>
                    <a:pt x="75" y="172"/>
                    <a:pt x="75" y="172"/>
                  </a:cubicBezTo>
                  <a:cubicBezTo>
                    <a:pt x="78" y="172"/>
                    <a:pt x="81" y="169"/>
                    <a:pt x="80" y="166"/>
                  </a:cubicBezTo>
                  <a:cubicBezTo>
                    <a:pt x="78" y="144"/>
                    <a:pt x="76" y="122"/>
                    <a:pt x="72" y="99"/>
                  </a:cubicBezTo>
                  <a:cubicBezTo>
                    <a:pt x="72" y="84"/>
                    <a:pt x="71" y="70"/>
                    <a:pt x="70" y="56"/>
                  </a:cubicBezTo>
                  <a:cubicBezTo>
                    <a:pt x="70" y="56"/>
                    <a:pt x="70" y="55"/>
                    <a:pt x="70" y="56"/>
                  </a:cubicBezTo>
                  <a:cubicBezTo>
                    <a:pt x="77" y="66"/>
                    <a:pt x="84" y="75"/>
                    <a:pt x="90" y="85"/>
                  </a:cubicBezTo>
                  <a:cubicBezTo>
                    <a:pt x="91" y="88"/>
                    <a:pt x="95" y="89"/>
                    <a:pt x="97" y="87"/>
                  </a:cubicBezTo>
                  <a:cubicBezTo>
                    <a:pt x="97" y="87"/>
                    <a:pt x="98" y="87"/>
                    <a:pt x="98" y="87"/>
                  </a:cubicBezTo>
                  <a:cubicBezTo>
                    <a:pt x="100" y="85"/>
                    <a:pt x="101" y="82"/>
                    <a:pt x="99" y="7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317" name="Shape 317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318" name="Shape 318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319" name="Shape 319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Plain_Title &amp; Content">
  <p:cSld name="Green Plain_Title &amp; Content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322" name="Shape 322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3" name="Shape 323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324" name="Shape 324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5" name="Shape 325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326" name="Shape 326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327" name="Shape 327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328" name="Shape 328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Balloons_Title &amp; Content">
  <p:cSld name="Green Balloons_Title &amp; Content"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Shape 330"/>
          <p:cNvSpPr/>
          <p:nvPr/>
        </p:nvSpPr>
        <p:spPr>
          <a:xfrm>
            <a:off x="6235700" y="3492532"/>
            <a:ext cx="2920999" cy="3365466"/>
          </a:xfrm>
          <a:custGeom>
            <a:avLst/>
            <a:gdLst/>
            <a:ahLst/>
            <a:cxnLst/>
            <a:rect l="0" t="0" r="0" b="0"/>
            <a:pathLst>
              <a:path w="1586" h="1827" extrusionOk="0">
                <a:moveTo>
                  <a:pt x="935" y="1133"/>
                </a:moveTo>
                <a:cubicBezTo>
                  <a:pt x="661" y="1434"/>
                  <a:pt x="341" y="1666"/>
                  <a:pt x="0" y="1827"/>
                </a:cubicBezTo>
                <a:cubicBezTo>
                  <a:pt x="1586" y="1827"/>
                  <a:pt x="1586" y="1827"/>
                  <a:pt x="1586" y="1827"/>
                </a:cubicBezTo>
                <a:cubicBezTo>
                  <a:pt x="1586" y="0"/>
                  <a:pt x="1586" y="0"/>
                  <a:pt x="1586" y="0"/>
                </a:cubicBezTo>
                <a:cubicBezTo>
                  <a:pt x="1462" y="403"/>
                  <a:pt x="1245" y="792"/>
                  <a:pt x="935" y="1133"/>
                </a:cubicBezTo>
                <a:close/>
              </a:path>
            </a:pathLst>
          </a:custGeom>
          <a:solidFill>
            <a:srgbClr val="C7D8EF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331" name="Shape 331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32" name="Shape 332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518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333" name="Shape 333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334" name="Shape 334"/>
          <p:cNvGrpSpPr/>
          <p:nvPr/>
        </p:nvGrpSpPr>
        <p:grpSpPr>
          <a:xfrm>
            <a:off x="7378700" y="5090682"/>
            <a:ext cx="975784" cy="1521210"/>
            <a:chOff x="600512" y="922996"/>
            <a:chExt cx="1555459" cy="2424902"/>
          </a:xfrm>
        </p:grpSpPr>
        <p:sp>
          <p:nvSpPr>
            <p:cNvPr id="335" name="Shape 335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36" name="Shape 336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37" name="Shape 337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338" name="Shape 338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339" name="Shape 339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340" name="Shape 340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sp>
          <p:nvSpPr>
            <p:cNvPr id="341" name="Shape 341"/>
            <p:cNvSpPr/>
            <p:nvPr/>
          </p:nvSpPr>
          <p:spPr>
            <a:xfrm>
              <a:off x="886658" y="1203641"/>
              <a:ext cx="1008848" cy="1227126"/>
            </a:xfrm>
            <a:custGeom>
              <a:avLst/>
              <a:gdLst/>
              <a:ahLst/>
              <a:cxnLst/>
              <a:rect l="0" t="0" r="0" b="0"/>
              <a:pathLst>
                <a:path w="233" h="283" extrusionOk="0">
                  <a:moveTo>
                    <a:pt x="0" y="138"/>
                  </a:moveTo>
                  <a:cubicBezTo>
                    <a:pt x="11" y="148"/>
                    <a:pt x="35" y="156"/>
                    <a:pt x="49" y="138"/>
                  </a:cubicBezTo>
                  <a:cubicBezTo>
                    <a:pt x="39" y="122"/>
                    <a:pt x="17" y="126"/>
                    <a:pt x="0" y="138"/>
                  </a:cubicBezTo>
                  <a:moveTo>
                    <a:pt x="135" y="21"/>
                  </a:moveTo>
                  <a:cubicBezTo>
                    <a:pt x="119" y="34"/>
                    <a:pt x="103" y="50"/>
                    <a:pt x="117" y="74"/>
                  </a:cubicBezTo>
                  <a:cubicBezTo>
                    <a:pt x="142" y="66"/>
                    <a:pt x="142" y="43"/>
                    <a:pt x="135" y="21"/>
                  </a:cubicBezTo>
                  <a:moveTo>
                    <a:pt x="160" y="169"/>
                  </a:moveTo>
                  <a:cubicBezTo>
                    <a:pt x="177" y="156"/>
                    <a:pt x="167" y="127"/>
                    <a:pt x="151" y="113"/>
                  </a:cubicBezTo>
                  <a:cubicBezTo>
                    <a:pt x="151" y="113"/>
                    <a:pt x="151" y="112"/>
                    <a:pt x="150" y="113"/>
                  </a:cubicBezTo>
                  <a:cubicBezTo>
                    <a:pt x="142" y="128"/>
                    <a:pt x="138" y="158"/>
                    <a:pt x="160" y="169"/>
                  </a:cubicBezTo>
                  <a:moveTo>
                    <a:pt x="206" y="74"/>
                  </a:moveTo>
                  <a:cubicBezTo>
                    <a:pt x="199" y="98"/>
                    <a:pt x="164" y="111"/>
                    <a:pt x="183" y="148"/>
                  </a:cubicBezTo>
                  <a:cubicBezTo>
                    <a:pt x="168" y="171"/>
                    <a:pt x="147" y="191"/>
                    <a:pt x="113" y="205"/>
                  </a:cubicBezTo>
                  <a:cubicBezTo>
                    <a:pt x="113" y="165"/>
                    <a:pt x="130" y="125"/>
                    <a:pt x="112" y="78"/>
                  </a:cubicBezTo>
                  <a:cubicBezTo>
                    <a:pt x="109" y="72"/>
                    <a:pt x="104" y="65"/>
                    <a:pt x="103" y="59"/>
                  </a:cubicBezTo>
                  <a:cubicBezTo>
                    <a:pt x="102" y="54"/>
                    <a:pt x="104" y="50"/>
                    <a:pt x="103" y="46"/>
                  </a:cubicBezTo>
                  <a:cubicBezTo>
                    <a:pt x="101" y="14"/>
                    <a:pt x="72" y="8"/>
                    <a:pt x="51" y="0"/>
                  </a:cubicBezTo>
                  <a:cubicBezTo>
                    <a:pt x="56" y="23"/>
                    <a:pt x="59" y="45"/>
                    <a:pt x="75" y="54"/>
                  </a:cubicBezTo>
                  <a:cubicBezTo>
                    <a:pt x="82" y="59"/>
                    <a:pt x="89" y="58"/>
                    <a:pt x="99" y="61"/>
                  </a:cubicBezTo>
                  <a:cubicBezTo>
                    <a:pt x="114" y="100"/>
                    <a:pt x="108" y="130"/>
                    <a:pt x="102" y="160"/>
                  </a:cubicBezTo>
                  <a:cubicBezTo>
                    <a:pt x="83" y="156"/>
                    <a:pt x="67" y="147"/>
                    <a:pt x="54" y="130"/>
                  </a:cubicBezTo>
                  <a:cubicBezTo>
                    <a:pt x="55" y="123"/>
                    <a:pt x="60" y="118"/>
                    <a:pt x="60" y="112"/>
                  </a:cubicBezTo>
                  <a:cubicBezTo>
                    <a:pt x="59" y="96"/>
                    <a:pt x="44" y="83"/>
                    <a:pt x="36" y="76"/>
                  </a:cubicBezTo>
                  <a:cubicBezTo>
                    <a:pt x="34" y="90"/>
                    <a:pt x="26" y="103"/>
                    <a:pt x="36" y="119"/>
                  </a:cubicBezTo>
                  <a:cubicBezTo>
                    <a:pt x="39" y="125"/>
                    <a:pt x="46" y="126"/>
                    <a:pt x="51" y="131"/>
                  </a:cubicBezTo>
                  <a:cubicBezTo>
                    <a:pt x="55" y="136"/>
                    <a:pt x="57" y="141"/>
                    <a:pt x="61" y="146"/>
                  </a:cubicBezTo>
                  <a:cubicBezTo>
                    <a:pt x="71" y="159"/>
                    <a:pt x="86" y="168"/>
                    <a:pt x="99" y="173"/>
                  </a:cubicBezTo>
                  <a:cubicBezTo>
                    <a:pt x="89" y="202"/>
                    <a:pt x="87" y="245"/>
                    <a:pt x="100" y="283"/>
                  </a:cubicBezTo>
                  <a:cubicBezTo>
                    <a:pt x="133" y="283"/>
                    <a:pt x="133" y="283"/>
                    <a:pt x="133" y="283"/>
                  </a:cubicBezTo>
                  <a:cubicBezTo>
                    <a:pt x="123" y="266"/>
                    <a:pt x="115" y="248"/>
                    <a:pt x="114" y="228"/>
                  </a:cubicBezTo>
                  <a:cubicBezTo>
                    <a:pt x="142" y="214"/>
                    <a:pt x="161" y="195"/>
                    <a:pt x="176" y="174"/>
                  </a:cubicBezTo>
                  <a:cubicBezTo>
                    <a:pt x="180" y="168"/>
                    <a:pt x="184" y="156"/>
                    <a:pt x="189" y="152"/>
                  </a:cubicBezTo>
                  <a:cubicBezTo>
                    <a:pt x="192" y="150"/>
                    <a:pt x="195" y="150"/>
                    <a:pt x="198" y="149"/>
                  </a:cubicBezTo>
                  <a:cubicBezTo>
                    <a:pt x="223" y="136"/>
                    <a:pt x="220" y="105"/>
                    <a:pt x="206" y="74"/>
                  </a:cubicBezTo>
                  <a:moveTo>
                    <a:pt x="214" y="189"/>
                  </a:moveTo>
                  <a:cubicBezTo>
                    <a:pt x="221" y="186"/>
                    <a:pt x="227" y="180"/>
                    <a:pt x="233" y="176"/>
                  </a:cubicBezTo>
                  <a:cubicBezTo>
                    <a:pt x="218" y="166"/>
                    <a:pt x="186" y="162"/>
                    <a:pt x="177" y="185"/>
                  </a:cubicBezTo>
                  <a:cubicBezTo>
                    <a:pt x="187" y="192"/>
                    <a:pt x="198" y="197"/>
                    <a:pt x="214" y="1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342" name="Shape 342"/>
          <p:cNvGrpSpPr/>
          <p:nvPr/>
        </p:nvGrpSpPr>
        <p:grpSpPr>
          <a:xfrm>
            <a:off x="8318634" y="4726718"/>
            <a:ext cx="676906" cy="1055270"/>
            <a:chOff x="600512" y="922996"/>
            <a:chExt cx="1555459" cy="2424902"/>
          </a:xfrm>
        </p:grpSpPr>
        <p:sp>
          <p:nvSpPr>
            <p:cNvPr id="343" name="Shape 343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44" name="Shape 344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45" name="Shape 345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346" name="Shape 346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347" name="Shape 347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348" name="Shape 348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sp>
          <p:nvSpPr>
            <p:cNvPr id="349" name="Shape 349"/>
            <p:cNvSpPr/>
            <p:nvPr/>
          </p:nvSpPr>
          <p:spPr>
            <a:xfrm>
              <a:off x="886658" y="1203641"/>
              <a:ext cx="1008848" cy="1227126"/>
            </a:xfrm>
            <a:custGeom>
              <a:avLst/>
              <a:gdLst/>
              <a:ahLst/>
              <a:cxnLst/>
              <a:rect l="0" t="0" r="0" b="0"/>
              <a:pathLst>
                <a:path w="233" h="283" extrusionOk="0">
                  <a:moveTo>
                    <a:pt x="0" y="138"/>
                  </a:moveTo>
                  <a:cubicBezTo>
                    <a:pt x="11" y="148"/>
                    <a:pt x="35" y="156"/>
                    <a:pt x="49" y="138"/>
                  </a:cubicBezTo>
                  <a:cubicBezTo>
                    <a:pt x="39" y="122"/>
                    <a:pt x="17" y="126"/>
                    <a:pt x="0" y="138"/>
                  </a:cubicBezTo>
                  <a:moveTo>
                    <a:pt x="135" y="21"/>
                  </a:moveTo>
                  <a:cubicBezTo>
                    <a:pt x="119" y="34"/>
                    <a:pt x="103" y="50"/>
                    <a:pt x="117" y="74"/>
                  </a:cubicBezTo>
                  <a:cubicBezTo>
                    <a:pt x="142" y="66"/>
                    <a:pt x="142" y="43"/>
                    <a:pt x="135" y="21"/>
                  </a:cubicBezTo>
                  <a:moveTo>
                    <a:pt x="160" y="169"/>
                  </a:moveTo>
                  <a:cubicBezTo>
                    <a:pt x="177" y="156"/>
                    <a:pt x="167" y="127"/>
                    <a:pt x="151" y="113"/>
                  </a:cubicBezTo>
                  <a:cubicBezTo>
                    <a:pt x="151" y="113"/>
                    <a:pt x="151" y="112"/>
                    <a:pt x="150" y="113"/>
                  </a:cubicBezTo>
                  <a:cubicBezTo>
                    <a:pt x="142" y="128"/>
                    <a:pt x="138" y="158"/>
                    <a:pt x="160" y="169"/>
                  </a:cubicBezTo>
                  <a:moveTo>
                    <a:pt x="206" y="74"/>
                  </a:moveTo>
                  <a:cubicBezTo>
                    <a:pt x="199" y="98"/>
                    <a:pt x="164" y="111"/>
                    <a:pt x="183" y="148"/>
                  </a:cubicBezTo>
                  <a:cubicBezTo>
                    <a:pt x="168" y="171"/>
                    <a:pt x="147" y="191"/>
                    <a:pt x="113" y="205"/>
                  </a:cubicBezTo>
                  <a:cubicBezTo>
                    <a:pt x="113" y="165"/>
                    <a:pt x="130" y="125"/>
                    <a:pt x="112" y="78"/>
                  </a:cubicBezTo>
                  <a:cubicBezTo>
                    <a:pt x="109" y="72"/>
                    <a:pt x="104" y="65"/>
                    <a:pt x="103" y="59"/>
                  </a:cubicBezTo>
                  <a:cubicBezTo>
                    <a:pt x="102" y="54"/>
                    <a:pt x="104" y="50"/>
                    <a:pt x="103" y="46"/>
                  </a:cubicBezTo>
                  <a:cubicBezTo>
                    <a:pt x="101" y="14"/>
                    <a:pt x="72" y="8"/>
                    <a:pt x="51" y="0"/>
                  </a:cubicBezTo>
                  <a:cubicBezTo>
                    <a:pt x="56" y="23"/>
                    <a:pt x="59" y="45"/>
                    <a:pt x="75" y="54"/>
                  </a:cubicBezTo>
                  <a:cubicBezTo>
                    <a:pt x="82" y="59"/>
                    <a:pt x="89" y="58"/>
                    <a:pt x="99" y="61"/>
                  </a:cubicBezTo>
                  <a:cubicBezTo>
                    <a:pt x="114" y="100"/>
                    <a:pt x="108" y="130"/>
                    <a:pt x="102" y="160"/>
                  </a:cubicBezTo>
                  <a:cubicBezTo>
                    <a:pt x="83" y="156"/>
                    <a:pt x="67" y="147"/>
                    <a:pt x="54" y="130"/>
                  </a:cubicBezTo>
                  <a:cubicBezTo>
                    <a:pt x="55" y="123"/>
                    <a:pt x="60" y="118"/>
                    <a:pt x="60" y="112"/>
                  </a:cubicBezTo>
                  <a:cubicBezTo>
                    <a:pt x="59" y="96"/>
                    <a:pt x="44" y="83"/>
                    <a:pt x="36" y="76"/>
                  </a:cubicBezTo>
                  <a:cubicBezTo>
                    <a:pt x="34" y="90"/>
                    <a:pt x="26" y="103"/>
                    <a:pt x="36" y="119"/>
                  </a:cubicBezTo>
                  <a:cubicBezTo>
                    <a:pt x="39" y="125"/>
                    <a:pt x="46" y="126"/>
                    <a:pt x="51" y="131"/>
                  </a:cubicBezTo>
                  <a:cubicBezTo>
                    <a:pt x="55" y="136"/>
                    <a:pt x="57" y="141"/>
                    <a:pt x="61" y="146"/>
                  </a:cubicBezTo>
                  <a:cubicBezTo>
                    <a:pt x="71" y="159"/>
                    <a:pt x="86" y="168"/>
                    <a:pt x="99" y="173"/>
                  </a:cubicBezTo>
                  <a:cubicBezTo>
                    <a:pt x="89" y="202"/>
                    <a:pt x="87" y="245"/>
                    <a:pt x="100" y="283"/>
                  </a:cubicBezTo>
                  <a:cubicBezTo>
                    <a:pt x="133" y="283"/>
                    <a:pt x="133" y="283"/>
                    <a:pt x="133" y="283"/>
                  </a:cubicBezTo>
                  <a:cubicBezTo>
                    <a:pt x="123" y="266"/>
                    <a:pt x="115" y="248"/>
                    <a:pt x="114" y="228"/>
                  </a:cubicBezTo>
                  <a:cubicBezTo>
                    <a:pt x="142" y="214"/>
                    <a:pt x="161" y="195"/>
                    <a:pt x="176" y="174"/>
                  </a:cubicBezTo>
                  <a:cubicBezTo>
                    <a:pt x="180" y="168"/>
                    <a:pt x="184" y="156"/>
                    <a:pt x="189" y="152"/>
                  </a:cubicBezTo>
                  <a:cubicBezTo>
                    <a:pt x="192" y="150"/>
                    <a:pt x="195" y="150"/>
                    <a:pt x="198" y="149"/>
                  </a:cubicBezTo>
                  <a:cubicBezTo>
                    <a:pt x="223" y="136"/>
                    <a:pt x="220" y="105"/>
                    <a:pt x="206" y="74"/>
                  </a:cubicBezTo>
                  <a:moveTo>
                    <a:pt x="214" y="189"/>
                  </a:moveTo>
                  <a:cubicBezTo>
                    <a:pt x="221" y="186"/>
                    <a:pt x="227" y="180"/>
                    <a:pt x="233" y="176"/>
                  </a:cubicBezTo>
                  <a:cubicBezTo>
                    <a:pt x="218" y="166"/>
                    <a:pt x="186" y="162"/>
                    <a:pt x="177" y="185"/>
                  </a:cubicBezTo>
                  <a:cubicBezTo>
                    <a:pt x="187" y="192"/>
                    <a:pt x="198" y="197"/>
                    <a:pt x="214" y="1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350" name="Shape 350"/>
          <p:cNvGrpSpPr/>
          <p:nvPr/>
        </p:nvGrpSpPr>
        <p:grpSpPr>
          <a:xfrm>
            <a:off x="7215903" y="6451600"/>
            <a:ext cx="397954" cy="171246"/>
            <a:chOff x="5885228" y="1841146"/>
            <a:chExt cx="1084373" cy="466624"/>
          </a:xfrm>
        </p:grpSpPr>
        <p:sp>
          <p:nvSpPr>
            <p:cNvPr id="351" name="Shape 351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2" name="Shape 352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3" name="Shape 353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4" name="Shape 354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5" name="Shape 355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6" name="Shape 356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357" name="Shape 357"/>
          <p:cNvGrpSpPr/>
          <p:nvPr/>
        </p:nvGrpSpPr>
        <p:grpSpPr>
          <a:xfrm>
            <a:off x="8457226" y="6235700"/>
            <a:ext cx="560747" cy="241300"/>
            <a:chOff x="5885228" y="1841146"/>
            <a:chExt cx="1084373" cy="466624"/>
          </a:xfrm>
        </p:grpSpPr>
        <p:sp>
          <p:nvSpPr>
            <p:cNvPr id="358" name="Shape 358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59" name="Shape 359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0" name="Shape 360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1" name="Shape 361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2" name="Shape 362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3" name="Shape 363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364" name="Shape 364"/>
          <p:cNvGrpSpPr/>
          <p:nvPr/>
        </p:nvGrpSpPr>
        <p:grpSpPr>
          <a:xfrm>
            <a:off x="8319448" y="6030582"/>
            <a:ext cx="266266" cy="114578"/>
            <a:chOff x="5885228" y="1841146"/>
            <a:chExt cx="1084373" cy="466624"/>
          </a:xfrm>
        </p:grpSpPr>
        <p:sp>
          <p:nvSpPr>
            <p:cNvPr id="365" name="Shape 365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6" name="Shape 366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7" name="Shape 367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8" name="Shape 368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69" name="Shape 369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70" name="Shape 370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371" name="Shape 371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372" name="Shape 372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373" name="Shape 373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374" name="Shape 374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d telescope_Title &amp; Content">
  <p:cSld name="Red telescope_Title &amp; Content"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Shape 376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377" name="Shape 377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8" name="Shape 378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379" name="Shape 379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0" name="Shape 380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1" name="Shape 381"/>
          <p:cNvSpPr/>
          <p:nvPr/>
        </p:nvSpPr>
        <p:spPr>
          <a:xfrm>
            <a:off x="6527800" y="6400800"/>
            <a:ext cx="1828800" cy="215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" sz="1100" b="0" i="0" u="none" strike="noStrike" cap="none" baseline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Magic</a:t>
            </a:r>
          </a:p>
        </p:txBody>
      </p:sp>
      <p:grpSp>
        <p:nvGrpSpPr>
          <p:cNvPr id="382" name="Shape 382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383" name="Shape 383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384" name="Shape 384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  <p:sp>
        <p:nvSpPr>
          <p:cNvPr id="385" name="Shape 385"/>
          <p:cNvSpPr/>
          <p:nvPr/>
        </p:nvSpPr>
        <p:spPr>
          <a:xfrm>
            <a:off x="7584568" y="5906828"/>
            <a:ext cx="359805" cy="443496"/>
          </a:xfrm>
          <a:custGeom>
            <a:avLst/>
            <a:gdLst/>
            <a:ahLst/>
            <a:cxnLst/>
            <a:rect l="0" t="0" r="0" b="0"/>
            <a:pathLst>
              <a:path w="249" h="307" extrusionOk="0">
                <a:moveTo>
                  <a:pt x="230" y="188"/>
                </a:moveTo>
                <a:cubicBezTo>
                  <a:pt x="230" y="196"/>
                  <a:pt x="226" y="200"/>
                  <a:pt x="219" y="200"/>
                </a:cubicBezTo>
                <a:cubicBezTo>
                  <a:pt x="212" y="200"/>
                  <a:pt x="209" y="196"/>
                  <a:pt x="209" y="188"/>
                </a:cubicBezTo>
                <a:cubicBezTo>
                  <a:pt x="209" y="180"/>
                  <a:pt x="212" y="176"/>
                  <a:pt x="219" y="176"/>
                </a:cubicBezTo>
                <a:cubicBezTo>
                  <a:pt x="226" y="176"/>
                  <a:pt x="230" y="180"/>
                  <a:pt x="230" y="188"/>
                </a:cubicBezTo>
                <a:moveTo>
                  <a:pt x="188" y="158"/>
                </a:moveTo>
                <a:cubicBezTo>
                  <a:pt x="182" y="152"/>
                  <a:pt x="176" y="147"/>
                  <a:pt x="170" y="141"/>
                </a:cubicBezTo>
                <a:cubicBezTo>
                  <a:pt x="170" y="153"/>
                  <a:pt x="170" y="153"/>
                  <a:pt x="170" y="153"/>
                </a:cubicBezTo>
                <a:cubicBezTo>
                  <a:pt x="170" y="160"/>
                  <a:pt x="169" y="167"/>
                  <a:pt x="169" y="174"/>
                </a:cubicBezTo>
                <a:cubicBezTo>
                  <a:pt x="176" y="169"/>
                  <a:pt x="182" y="163"/>
                  <a:pt x="188" y="158"/>
                </a:cubicBezTo>
                <a:moveTo>
                  <a:pt x="225" y="99"/>
                </a:moveTo>
                <a:cubicBezTo>
                  <a:pt x="225" y="88"/>
                  <a:pt x="217" y="82"/>
                  <a:pt x="202" y="82"/>
                </a:cubicBezTo>
                <a:cubicBezTo>
                  <a:pt x="192" y="82"/>
                  <a:pt x="180" y="85"/>
                  <a:pt x="166" y="91"/>
                </a:cubicBezTo>
                <a:cubicBezTo>
                  <a:pt x="167" y="105"/>
                  <a:pt x="169" y="119"/>
                  <a:pt x="169" y="135"/>
                </a:cubicBezTo>
                <a:cubicBezTo>
                  <a:pt x="177" y="141"/>
                  <a:pt x="185" y="147"/>
                  <a:pt x="192" y="153"/>
                </a:cubicBezTo>
                <a:cubicBezTo>
                  <a:pt x="214" y="131"/>
                  <a:pt x="225" y="113"/>
                  <a:pt x="225" y="99"/>
                </a:cubicBezTo>
                <a:moveTo>
                  <a:pt x="164" y="50"/>
                </a:moveTo>
                <a:cubicBezTo>
                  <a:pt x="164" y="58"/>
                  <a:pt x="161" y="63"/>
                  <a:pt x="153" y="63"/>
                </a:cubicBezTo>
                <a:cubicBezTo>
                  <a:pt x="146" y="63"/>
                  <a:pt x="142" y="58"/>
                  <a:pt x="142" y="50"/>
                </a:cubicBezTo>
                <a:cubicBezTo>
                  <a:pt x="142" y="42"/>
                  <a:pt x="146" y="38"/>
                  <a:pt x="153" y="38"/>
                </a:cubicBezTo>
                <a:cubicBezTo>
                  <a:pt x="161" y="38"/>
                  <a:pt x="164" y="42"/>
                  <a:pt x="164" y="50"/>
                </a:cubicBezTo>
                <a:moveTo>
                  <a:pt x="164" y="184"/>
                </a:moveTo>
                <a:cubicBezTo>
                  <a:pt x="153" y="192"/>
                  <a:pt x="141" y="200"/>
                  <a:pt x="129" y="208"/>
                </a:cubicBezTo>
                <a:cubicBezTo>
                  <a:pt x="139" y="213"/>
                  <a:pt x="149" y="218"/>
                  <a:pt x="159" y="222"/>
                </a:cubicBezTo>
                <a:cubicBezTo>
                  <a:pt x="161" y="210"/>
                  <a:pt x="163" y="198"/>
                  <a:pt x="164" y="184"/>
                </a:cubicBezTo>
                <a:moveTo>
                  <a:pt x="164" y="131"/>
                </a:moveTo>
                <a:cubicBezTo>
                  <a:pt x="164" y="118"/>
                  <a:pt x="162" y="105"/>
                  <a:pt x="160" y="93"/>
                </a:cubicBezTo>
                <a:cubicBezTo>
                  <a:pt x="150" y="97"/>
                  <a:pt x="140" y="101"/>
                  <a:pt x="129" y="107"/>
                </a:cubicBezTo>
                <a:cubicBezTo>
                  <a:pt x="142" y="115"/>
                  <a:pt x="153" y="123"/>
                  <a:pt x="164" y="131"/>
                </a:cubicBezTo>
                <a:moveTo>
                  <a:pt x="157" y="228"/>
                </a:moveTo>
                <a:cubicBezTo>
                  <a:pt x="147" y="223"/>
                  <a:pt x="136" y="217"/>
                  <a:pt x="125" y="211"/>
                </a:cubicBezTo>
                <a:cubicBezTo>
                  <a:pt x="115" y="216"/>
                  <a:pt x="105" y="222"/>
                  <a:pt x="96" y="227"/>
                </a:cubicBezTo>
                <a:cubicBezTo>
                  <a:pt x="103" y="259"/>
                  <a:pt x="114" y="276"/>
                  <a:pt x="127" y="276"/>
                </a:cubicBezTo>
                <a:cubicBezTo>
                  <a:pt x="139" y="276"/>
                  <a:pt x="149" y="260"/>
                  <a:pt x="157" y="228"/>
                </a:cubicBezTo>
                <a:moveTo>
                  <a:pt x="120" y="208"/>
                </a:moveTo>
                <a:cubicBezTo>
                  <a:pt x="110" y="201"/>
                  <a:pt x="99" y="194"/>
                  <a:pt x="89" y="187"/>
                </a:cubicBezTo>
                <a:cubicBezTo>
                  <a:pt x="90" y="199"/>
                  <a:pt x="92" y="210"/>
                  <a:pt x="94" y="220"/>
                </a:cubicBezTo>
                <a:cubicBezTo>
                  <a:pt x="102" y="217"/>
                  <a:pt x="111" y="213"/>
                  <a:pt x="120" y="208"/>
                </a:cubicBezTo>
                <a:moveTo>
                  <a:pt x="120" y="107"/>
                </a:moveTo>
                <a:cubicBezTo>
                  <a:pt x="111" y="102"/>
                  <a:pt x="101" y="98"/>
                  <a:pt x="93" y="94"/>
                </a:cubicBezTo>
                <a:cubicBezTo>
                  <a:pt x="91" y="105"/>
                  <a:pt x="89" y="116"/>
                  <a:pt x="89" y="128"/>
                </a:cubicBezTo>
                <a:cubicBezTo>
                  <a:pt x="99" y="121"/>
                  <a:pt x="109" y="114"/>
                  <a:pt x="120" y="107"/>
                </a:cubicBezTo>
                <a:moveTo>
                  <a:pt x="165" y="153"/>
                </a:moveTo>
                <a:cubicBezTo>
                  <a:pt x="165" y="148"/>
                  <a:pt x="165" y="143"/>
                  <a:pt x="165" y="137"/>
                </a:cubicBezTo>
                <a:cubicBezTo>
                  <a:pt x="152" y="127"/>
                  <a:pt x="139" y="118"/>
                  <a:pt x="125" y="110"/>
                </a:cubicBezTo>
                <a:cubicBezTo>
                  <a:pt x="112" y="117"/>
                  <a:pt x="100" y="126"/>
                  <a:pt x="88" y="135"/>
                </a:cubicBezTo>
                <a:cubicBezTo>
                  <a:pt x="88" y="141"/>
                  <a:pt x="88" y="147"/>
                  <a:pt x="88" y="153"/>
                </a:cubicBezTo>
                <a:cubicBezTo>
                  <a:pt x="88" y="163"/>
                  <a:pt x="88" y="172"/>
                  <a:pt x="89" y="181"/>
                </a:cubicBezTo>
                <a:cubicBezTo>
                  <a:pt x="101" y="190"/>
                  <a:pt x="112" y="198"/>
                  <a:pt x="125" y="205"/>
                </a:cubicBezTo>
                <a:cubicBezTo>
                  <a:pt x="138" y="197"/>
                  <a:pt x="152" y="188"/>
                  <a:pt x="164" y="178"/>
                </a:cubicBezTo>
                <a:cubicBezTo>
                  <a:pt x="165" y="170"/>
                  <a:pt x="165" y="162"/>
                  <a:pt x="165" y="153"/>
                </a:cubicBezTo>
                <a:moveTo>
                  <a:pt x="84" y="177"/>
                </a:moveTo>
                <a:cubicBezTo>
                  <a:pt x="84" y="169"/>
                  <a:pt x="84" y="161"/>
                  <a:pt x="84" y="153"/>
                </a:cubicBezTo>
                <a:cubicBezTo>
                  <a:pt x="84" y="148"/>
                  <a:pt x="84" y="143"/>
                  <a:pt x="84" y="138"/>
                </a:cubicBezTo>
                <a:cubicBezTo>
                  <a:pt x="76" y="144"/>
                  <a:pt x="68" y="151"/>
                  <a:pt x="61" y="158"/>
                </a:cubicBezTo>
                <a:cubicBezTo>
                  <a:pt x="68" y="164"/>
                  <a:pt x="76" y="171"/>
                  <a:pt x="84" y="177"/>
                </a:cubicBezTo>
                <a:moveTo>
                  <a:pt x="87" y="92"/>
                </a:moveTo>
                <a:cubicBezTo>
                  <a:pt x="71" y="86"/>
                  <a:pt x="58" y="82"/>
                  <a:pt x="47" y="82"/>
                </a:cubicBezTo>
                <a:cubicBezTo>
                  <a:pt x="32" y="82"/>
                  <a:pt x="25" y="88"/>
                  <a:pt x="25" y="99"/>
                </a:cubicBezTo>
                <a:cubicBezTo>
                  <a:pt x="25" y="113"/>
                  <a:pt x="36" y="131"/>
                  <a:pt x="57" y="153"/>
                </a:cubicBezTo>
                <a:cubicBezTo>
                  <a:pt x="66" y="146"/>
                  <a:pt x="75" y="139"/>
                  <a:pt x="84" y="132"/>
                </a:cubicBezTo>
                <a:cubicBezTo>
                  <a:pt x="84" y="118"/>
                  <a:pt x="86" y="105"/>
                  <a:pt x="87" y="92"/>
                </a:cubicBezTo>
                <a:moveTo>
                  <a:pt x="41" y="190"/>
                </a:moveTo>
                <a:cubicBezTo>
                  <a:pt x="41" y="198"/>
                  <a:pt x="37" y="203"/>
                  <a:pt x="29" y="203"/>
                </a:cubicBezTo>
                <a:cubicBezTo>
                  <a:pt x="21" y="203"/>
                  <a:pt x="16" y="198"/>
                  <a:pt x="16" y="190"/>
                </a:cubicBezTo>
                <a:cubicBezTo>
                  <a:pt x="16" y="182"/>
                  <a:pt x="21" y="177"/>
                  <a:pt x="29" y="177"/>
                </a:cubicBezTo>
                <a:cubicBezTo>
                  <a:pt x="37" y="177"/>
                  <a:pt x="41" y="182"/>
                  <a:pt x="41" y="190"/>
                </a:cubicBezTo>
                <a:moveTo>
                  <a:pt x="249" y="232"/>
                </a:moveTo>
                <a:cubicBezTo>
                  <a:pt x="249" y="244"/>
                  <a:pt x="242" y="249"/>
                  <a:pt x="227" y="249"/>
                </a:cubicBezTo>
                <a:cubicBezTo>
                  <a:pt x="211" y="249"/>
                  <a:pt x="190" y="243"/>
                  <a:pt x="164" y="231"/>
                </a:cubicBezTo>
                <a:cubicBezTo>
                  <a:pt x="155" y="281"/>
                  <a:pt x="143" y="307"/>
                  <a:pt x="127" y="307"/>
                </a:cubicBezTo>
                <a:cubicBezTo>
                  <a:pt x="117" y="307"/>
                  <a:pt x="108" y="296"/>
                  <a:pt x="100" y="274"/>
                </a:cubicBezTo>
                <a:cubicBezTo>
                  <a:pt x="96" y="261"/>
                  <a:pt x="92" y="246"/>
                  <a:pt x="89" y="229"/>
                </a:cubicBezTo>
                <a:cubicBezTo>
                  <a:pt x="62" y="243"/>
                  <a:pt x="39" y="249"/>
                  <a:pt x="23" y="249"/>
                </a:cubicBezTo>
                <a:cubicBezTo>
                  <a:pt x="8" y="249"/>
                  <a:pt x="0" y="244"/>
                  <a:pt x="0" y="232"/>
                </a:cubicBezTo>
                <a:cubicBezTo>
                  <a:pt x="0" y="226"/>
                  <a:pt x="3" y="218"/>
                  <a:pt x="9" y="208"/>
                </a:cubicBezTo>
                <a:cubicBezTo>
                  <a:pt x="11" y="206"/>
                  <a:pt x="14" y="204"/>
                  <a:pt x="16" y="204"/>
                </a:cubicBezTo>
                <a:cubicBezTo>
                  <a:pt x="20" y="204"/>
                  <a:pt x="23" y="207"/>
                  <a:pt x="25" y="212"/>
                </a:cubicBezTo>
                <a:cubicBezTo>
                  <a:pt x="23" y="226"/>
                  <a:pt x="30" y="233"/>
                  <a:pt x="47" y="233"/>
                </a:cubicBezTo>
                <a:cubicBezTo>
                  <a:pt x="58" y="233"/>
                  <a:pt x="72" y="229"/>
                  <a:pt x="88" y="223"/>
                </a:cubicBezTo>
                <a:cubicBezTo>
                  <a:pt x="86" y="210"/>
                  <a:pt x="85" y="197"/>
                  <a:pt x="84" y="183"/>
                </a:cubicBezTo>
                <a:cubicBezTo>
                  <a:pt x="75" y="176"/>
                  <a:pt x="66" y="169"/>
                  <a:pt x="57" y="162"/>
                </a:cubicBezTo>
                <a:cubicBezTo>
                  <a:pt x="53" y="166"/>
                  <a:pt x="47" y="172"/>
                  <a:pt x="41" y="180"/>
                </a:cubicBezTo>
                <a:cubicBezTo>
                  <a:pt x="39" y="177"/>
                  <a:pt x="38" y="174"/>
                  <a:pt x="36" y="174"/>
                </a:cubicBezTo>
                <a:cubicBezTo>
                  <a:pt x="44" y="166"/>
                  <a:pt x="49" y="161"/>
                  <a:pt x="53" y="158"/>
                </a:cubicBezTo>
                <a:cubicBezTo>
                  <a:pt x="18" y="126"/>
                  <a:pt x="0" y="101"/>
                  <a:pt x="0" y="83"/>
                </a:cubicBezTo>
                <a:cubicBezTo>
                  <a:pt x="0" y="71"/>
                  <a:pt x="8" y="66"/>
                  <a:pt x="23" y="66"/>
                </a:cubicBezTo>
                <a:cubicBezTo>
                  <a:pt x="39" y="66"/>
                  <a:pt x="61" y="72"/>
                  <a:pt x="88" y="85"/>
                </a:cubicBezTo>
                <a:cubicBezTo>
                  <a:pt x="91" y="66"/>
                  <a:pt x="94" y="50"/>
                  <a:pt x="99" y="36"/>
                </a:cubicBezTo>
                <a:cubicBezTo>
                  <a:pt x="107" y="12"/>
                  <a:pt x="116" y="0"/>
                  <a:pt x="127" y="0"/>
                </a:cubicBezTo>
                <a:cubicBezTo>
                  <a:pt x="132" y="0"/>
                  <a:pt x="138" y="4"/>
                  <a:pt x="144" y="11"/>
                </a:cubicBezTo>
                <a:cubicBezTo>
                  <a:pt x="149" y="19"/>
                  <a:pt x="152" y="26"/>
                  <a:pt x="152" y="31"/>
                </a:cubicBezTo>
                <a:cubicBezTo>
                  <a:pt x="152" y="36"/>
                  <a:pt x="149" y="38"/>
                  <a:pt x="142" y="38"/>
                </a:cubicBezTo>
                <a:cubicBezTo>
                  <a:pt x="141" y="38"/>
                  <a:pt x="140" y="38"/>
                  <a:pt x="140" y="38"/>
                </a:cubicBezTo>
                <a:cubicBezTo>
                  <a:pt x="136" y="33"/>
                  <a:pt x="131" y="31"/>
                  <a:pt x="127" y="31"/>
                </a:cubicBezTo>
                <a:cubicBezTo>
                  <a:pt x="112" y="31"/>
                  <a:pt x="102" y="50"/>
                  <a:pt x="94" y="88"/>
                </a:cubicBezTo>
                <a:cubicBezTo>
                  <a:pt x="104" y="93"/>
                  <a:pt x="114" y="98"/>
                  <a:pt x="125" y="105"/>
                </a:cubicBezTo>
                <a:cubicBezTo>
                  <a:pt x="136" y="97"/>
                  <a:pt x="148" y="91"/>
                  <a:pt x="159" y="86"/>
                </a:cubicBezTo>
                <a:cubicBezTo>
                  <a:pt x="157" y="77"/>
                  <a:pt x="155" y="70"/>
                  <a:pt x="154" y="66"/>
                </a:cubicBezTo>
                <a:cubicBezTo>
                  <a:pt x="161" y="61"/>
                  <a:pt x="161" y="61"/>
                  <a:pt x="161" y="61"/>
                </a:cubicBezTo>
                <a:cubicBezTo>
                  <a:pt x="163" y="68"/>
                  <a:pt x="164" y="76"/>
                  <a:pt x="165" y="83"/>
                </a:cubicBezTo>
                <a:cubicBezTo>
                  <a:pt x="190" y="71"/>
                  <a:pt x="211" y="66"/>
                  <a:pt x="227" y="66"/>
                </a:cubicBezTo>
                <a:cubicBezTo>
                  <a:pt x="242" y="66"/>
                  <a:pt x="249" y="71"/>
                  <a:pt x="249" y="83"/>
                </a:cubicBezTo>
                <a:cubicBezTo>
                  <a:pt x="249" y="101"/>
                  <a:pt x="232" y="126"/>
                  <a:pt x="196" y="158"/>
                </a:cubicBezTo>
                <a:cubicBezTo>
                  <a:pt x="202" y="162"/>
                  <a:pt x="207" y="167"/>
                  <a:pt x="212" y="172"/>
                </a:cubicBezTo>
                <a:cubicBezTo>
                  <a:pt x="207" y="178"/>
                  <a:pt x="207" y="178"/>
                  <a:pt x="207" y="178"/>
                </a:cubicBezTo>
                <a:cubicBezTo>
                  <a:pt x="201" y="171"/>
                  <a:pt x="196" y="165"/>
                  <a:pt x="192" y="162"/>
                </a:cubicBezTo>
                <a:cubicBezTo>
                  <a:pt x="185" y="168"/>
                  <a:pt x="177" y="174"/>
                  <a:pt x="169" y="181"/>
                </a:cubicBezTo>
                <a:cubicBezTo>
                  <a:pt x="168" y="196"/>
                  <a:pt x="167" y="210"/>
                  <a:pt x="165" y="224"/>
                </a:cubicBezTo>
                <a:cubicBezTo>
                  <a:pt x="180" y="230"/>
                  <a:pt x="192" y="233"/>
                  <a:pt x="202" y="233"/>
                </a:cubicBezTo>
                <a:cubicBezTo>
                  <a:pt x="213" y="233"/>
                  <a:pt x="219" y="230"/>
                  <a:pt x="223" y="224"/>
                </a:cubicBezTo>
                <a:cubicBezTo>
                  <a:pt x="226" y="220"/>
                  <a:pt x="226" y="213"/>
                  <a:pt x="223" y="204"/>
                </a:cubicBezTo>
                <a:cubicBezTo>
                  <a:pt x="225" y="198"/>
                  <a:pt x="228" y="195"/>
                  <a:pt x="230" y="195"/>
                </a:cubicBezTo>
                <a:cubicBezTo>
                  <a:pt x="232" y="195"/>
                  <a:pt x="233" y="196"/>
                  <a:pt x="234" y="197"/>
                </a:cubicBezTo>
                <a:cubicBezTo>
                  <a:pt x="244" y="212"/>
                  <a:pt x="249" y="223"/>
                  <a:pt x="249" y="232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grpSp>
        <p:nvGrpSpPr>
          <p:cNvPr id="386" name="Shape 386"/>
          <p:cNvGrpSpPr/>
          <p:nvPr/>
        </p:nvGrpSpPr>
        <p:grpSpPr>
          <a:xfrm>
            <a:off x="8079774" y="6027112"/>
            <a:ext cx="848053" cy="639689"/>
            <a:chOff x="8079774" y="6027112"/>
            <a:chExt cx="848053" cy="639689"/>
          </a:xfrm>
        </p:grpSpPr>
        <p:sp>
          <p:nvSpPr>
            <p:cNvPr id="387" name="Shape 387"/>
            <p:cNvSpPr/>
            <p:nvPr/>
          </p:nvSpPr>
          <p:spPr>
            <a:xfrm>
              <a:off x="8079774" y="6027112"/>
              <a:ext cx="231877" cy="356733"/>
            </a:xfrm>
            <a:custGeom>
              <a:avLst/>
              <a:gdLst/>
              <a:ahLst/>
              <a:cxnLst/>
              <a:rect l="0" t="0" r="0" b="0"/>
              <a:pathLst>
                <a:path w="121" h="186" extrusionOk="0">
                  <a:moveTo>
                    <a:pt x="88" y="102"/>
                  </a:moveTo>
                  <a:cubicBezTo>
                    <a:pt x="76" y="140"/>
                    <a:pt x="52" y="164"/>
                    <a:pt x="39" y="160"/>
                  </a:cubicBezTo>
                  <a:cubicBezTo>
                    <a:pt x="26" y="156"/>
                    <a:pt x="21" y="122"/>
                    <a:pt x="34" y="84"/>
                  </a:cubicBezTo>
                  <a:cubicBezTo>
                    <a:pt x="46" y="46"/>
                    <a:pt x="70" y="22"/>
                    <a:pt x="82" y="26"/>
                  </a:cubicBezTo>
                  <a:cubicBezTo>
                    <a:pt x="95" y="30"/>
                    <a:pt x="100" y="64"/>
                    <a:pt x="88" y="102"/>
                  </a:cubicBezTo>
                  <a:moveTo>
                    <a:pt x="88" y="9"/>
                  </a:moveTo>
                  <a:cubicBezTo>
                    <a:pt x="63" y="0"/>
                    <a:pt x="31" y="30"/>
                    <a:pt x="16" y="78"/>
                  </a:cubicBezTo>
                  <a:cubicBezTo>
                    <a:pt x="0" y="127"/>
                    <a:pt x="8" y="169"/>
                    <a:pt x="33" y="177"/>
                  </a:cubicBezTo>
                  <a:cubicBezTo>
                    <a:pt x="59" y="186"/>
                    <a:pt x="90" y="156"/>
                    <a:pt x="106" y="108"/>
                  </a:cubicBezTo>
                  <a:cubicBezTo>
                    <a:pt x="121" y="59"/>
                    <a:pt x="114" y="17"/>
                    <a:pt x="88" y="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88" name="Shape 388"/>
            <p:cNvSpPr/>
            <p:nvPr/>
          </p:nvSpPr>
          <p:spPr>
            <a:xfrm>
              <a:off x="8144635" y="6098458"/>
              <a:ext cx="101345" cy="214039"/>
            </a:xfrm>
            <a:custGeom>
              <a:avLst/>
              <a:gdLst/>
              <a:ahLst/>
              <a:cxnLst/>
              <a:rect l="0" t="0" r="0" b="0"/>
              <a:pathLst>
                <a:path w="53" h="112" extrusionOk="0">
                  <a:moveTo>
                    <a:pt x="9" y="112"/>
                  </a:moveTo>
                  <a:cubicBezTo>
                    <a:pt x="5" y="108"/>
                    <a:pt x="0" y="83"/>
                    <a:pt x="11" y="51"/>
                  </a:cubicBezTo>
                  <a:cubicBezTo>
                    <a:pt x="21" y="19"/>
                    <a:pt x="39" y="2"/>
                    <a:pt x="45" y="0"/>
                  </a:cubicBezTo>
                  <a:cubicBezTo>
                    <a:pt x="49" y="5"/>
                    <a:pt x="53" y="29"/>
                    <a:pt x="43" y="61"/>
                  </a:cubicBezTo>
                  <a:cubicBezTo>
                    <a:pt x="32" y="94"/>
                    <a:pt x="14" y="111"/>
                    <a:pt x="9" y="11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89" name="Shape 389"/>
            <p:cNvSpPr/>
            <p:nvPr/>
          </p:nvSpPr>
          <p:spPr>
            <a:xfrm>
              <a:off x="8878371" y="6391142"/>
              <a:ext cx="49455" cy="82697"/>
            </a:xfrm>
            <a:custGeom>
              <a:avLst/>
              <a:gdLst/>
              <a:ahLst/>
              <a:cxnLst/>
              <a:rect l="0" t="0" r="0" b="0"/>
              <a:pathLst>
                <a:path w="26" h="43" extrusionOk="0">
                  <a:moveTo>
                    <a:pt x="14" y="0"/>
                  </a:moveTo>
                  <a:cubicBezTo>
                    <a:pt x="13" y="7"/>
                    <a:pt x="11" y="14"/>
                    <a:pt x="9" y="22"/>
                  </a:cubicBezTo>
                  <a:cubicBezTo>
                    <a:pt x="7" y="30"/>
                    <a:pt x="3" y="36"/>
                    <a:pt x="0" y="42"/>
                  </a:cubicBezTo>
                  <a:cubicBezTo>
                    <a:pt x="9" y="43"/>
                    <a:pt x="19" y="37"/>
                    <a:pt x="22" y="26"/>
                  </a:cubicBezTo>
                  <a:cubicBezTo>
                    <a:pt x="26" y="16"/>
                    <a:pt x="22" y="5"/>
                    <a:pt x="14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90" name="Shape 390"/>
            <p:cNvSpPr/>
            <p:nvPr/>
          </p:nvSpPr>
          <p:spPr>
            <a:xfrm>
              <a:off x="8705681" y="6291419"/>
              <a:ext cx="188096" cy="213229"/>
            </a:xfrm>
            <a:custGeom>
              <a:avLst/>
              <a:gdLst/>
              <a:ahLst/>
              <a:cxnLst/>
              <a:rect l="0" t="0" r="0" b="0"/>
              <a:pathLst>
                <a:path w="98" h="111" extrusionOk="0">
                  <a:moveTo>
                    <a:pt x="85" y="21"/>
                  </a:moveTo>
                  <a:cubicBezTo>
                    <a:pt x="85" y="21"/>
                    <a:pt x="85" y="21"/>
                    <a:pt x="85" y="2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14"/>
                    <a:pt x="31" y="32"/>
                    <a:pt x="25" y="50"/>
                  </a:cubicBezTo>
                  <a:cubicBezTo>
                    <a:pt x="19" y="68"/>
                    <a:pt x="10" y="83"/>
                    <a:pt x="0" y="93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68" y="111"/>
                    <a:pt x="83" y="94"/>
                    <a:pt x="90" y="71"/>
                  </a:cubicBezTo>
                  <a:cubicBezTo>
                    <a:pt x="98" y="48"/>
                    <a:pt x="95" y="26"/>
                    <a:pt x="85" y="2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91" name="Shape 391"/>
            <p:cNvSpPr/>
            <p:nvPr/>
          </p:nvSpPr>
          <p:spPr>
            <a:xfrm>
              <a:off x="8468128" y="6301148"/>
              <a:ext cx="98101" cy="98101"/>
            </a:xfrm>
            <a:custGeom>
              <a:avLst/>
              <a:gdLst/>
              <a:ahLst/>
              <a:cxnLst/>
              <a:rect l="0" t="0" r="0" b="0"/>
              <a:pathLst>
                <a:path w="51" h="51" extrusionOk="0">
                  <a:moveTo>
                    <a:pt x="18" y="47"/>
                  </a:moveTo>
                  <a:cubicBezTo>
                    <a:pt x="6" y="43"/>
                    <a:pt x="0" y="30"/>
                    <a:pt x="4" y="18"/>
                  </a:cubicBezTo>
                  <a:cubicBezTo>
                    <a:pt x="8" y="6"/>
                    <a:pt x="21" y="0"/>
                    <a:pt x="33" y="4"/>
                  </a:cubicBezTo>
                  <a:cubicBezTo>
                    <a:pt x="45" y="7"/>
                    <a:pt x="51" y="20"/>
                    <a:pt x="47" y="32"/>
                  </a:cubicBezTo>
                  <a:cubicBezTo>
                    <a:pt x="43" y="44"/>
                    <a:pt x="30" y="51"/>
                    <a:pt x="18" y="4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92" name="Shape 392"/>
            <p:cNvSpPr/>
            <p:nvPr/>
          </p:nvSpPr>
          <p:spPr>
            <a:xfrm>
              <a:off x="8389484" y="6441410"/>
              <a:ext cx="216472" cy="225391"/>
            </a:xfrm>
            <a:custGeom>
              <a:avLst/>
              <a:gdLst/>
              <a:ahLst/>
              <a:cxnLst/>
              <a:rect l="0" t="0" r="0" b="0"/>
              <a:pathLst>
                <a:path w="113" h="118" extrusionOk="0">
                  <a:moveTo>
                    <a:pt x="35" y="68"/>
                  </a:moveTo>
                  <a:cubicBezTo>
                    <a:pt x="35" y="13"/>
                    <a:pt x="35" y="13"/>
                    <a:pt x="35" y="13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70"/>
                    <a:pt x="48" y="70"/>
                    <a:pt x="48" y="70"/>
                  </a:cubicBezTo>
                  <a:lnTo>
                    <a:pt x="35" y="68"/>
                  </a:lnTo>
                  <a:close/>
                  <a:moveTo>
                    <a:pt x="112" y="99"/>
                  </a:moveTo>
                  <a:cubicBezTo>
                    <a:pt x="105" y="74"/>
                    <a:pt x="105" y="74"/>
                    <a:pt x="105" y="74"/>
                  </a:cubicBezTo>
                  <a:cubicBezTo>
                    <a:pt x="104" y="73"/>
                    <a:pt x="103" y="72"/>
                    <a:pt x="102" y="70"/>
                  </a:cubicBezTo>
                  <a:cubicBezTo>
                    <a:pt x="102" y="70"/>
                    <a:pt x="102" y="70"/>
                    <a:pt x="101" y="69"/>
                  </a:cubicBezTo>
                  <a:cubicBezTo>
                    <a:pt x="100" y="68"/>
                    <a:pt x="98" y="67"/>
                    <a:pt x="95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4" y="3"/>
                    <a:pt x="29" y="4"/>
                    <a:pt x="24" y="4"/>
                  </a:cubicBezTo>
                  <a:cubicBezTo>
                    <a:pt x="23" y="4"/>
                    <a:pt x="22" y="4"/>
                    <a:pt x="22" y="4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7" y="67"/>
                    <a:pt x="14" y="68"/>
                    <a:pt x="13" y="69"/>
                  </a:cubicBezTo>
                  <a:cubicBezTo>
                    <a:pt x="13" y="69"/>
                    <a:pt x="13" y="70"/>
                    <a:pt x="13" y="70"/>
                  </a:cubicBezTo>
                  <a:cubicBezTo>
                    <a:pt x="11" y="71"/>
                    <a:pt x="9" y="72"/>
                    <a:pt x="9" y="75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01"/>
                    <a:pt x="0" y="103"/>
                    <a:pt x="1" y="105"/>
                  </a:cubicBezTo>
                  <a:cubicBezTo>
                    <a:pt x="2" y="107"/>
                    <a:pt x="4" y="109"/>
                    <a:pt x="6" y="109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9" y="114"/>
                    <a:pt x="20" y="114"/>
                    <a:pt x="21" y="114"/>
                  </a:cubicBezTo>
                  <a:cubicBezTo>
                    <a:pt x="22" y="114"/>
                    <a:pt x="24" y="113"/>
                    <a:pt x="25" y="113"/>
                  </a:cubicBezTo>
                  <a:cubicBezTo>
                    <a:pt x="27" y="112"/>
                    <a:pt x="28" y="110"/>
                    <a:pt x="29" y="108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3" y="114"/>
                    <a:pt x="45" y="116"/>
                  </a:cubicBezTo>
                  <a:cubicBezTo>
                    <a:pt x="46" y="117"/>
                    <a:pt x="48" y="118"/>
                    <a:pt x="51" y="118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6" y="118"/>
                    <a:pt x="68" y="118"/>
                    <a:pt x="69" y="116"/>
                  </a:cubicBezTo>
                  <a:cubicBezTo>
                    <a:pt x="71" y="114"/>
                    <a:pt x="72" y="112"/>
                    <a:pt x="72" y="110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81" y="97"/>
                    <a:pt x="81" y="97"/>
                    <a:pt x="81" y="97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85" y="111"/>
                    <a:pt x="88" y="113"/>
                    <a:pt x="92" y="113"/>
                  </a:cubicBezTo>
                  <a:cubicBezTo>
                    <a:pt x="93" y="113"/>
                    <a:pt x="93" y="113"/>
                    <a:pt x="94" y="113"/>
                  </a:cubicBezTo>
                  <a:cubicBezTo>
                    <a:pt x="106" y="109"/>
                    <a:pt x="106" y="109"/>
                    <a:pt x="106" y="109"/>
                  </a:cubicBezTo>
                  <a:cubicBezTo>
                    <a:pt x="108" y="109"/>
                    <a:pt x="110" y="107"/>
                    <a:pt x="111" y="105"/>
                  </a:cubicBezTo>
                  <a:cubicBezTo>
                    <a:pt x="112" y="103"/>
                    <a:pt x="113" y="101"/>
                    <a:pt x="112" y="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93" name="Shape 393"/>
            <p:cNvSpPr/>
            <p:nvPr/>
          </p:nvSpPr>
          <p:spPr>
            <a:xfrm>
              <a:off x="8489207" y="6201425"/>
              <a:ext cx="261064" cy="274036"/>
            </a:xfrm>
            <a:custGeom>
              <a:avLst/>
              <a:gdLst/>
              <a:ahLst/>
              <a:cxnLst/>
              <a:rect l="0" t="0" r="0" b="0"/>
              <a:pathLst>
                <a:path w="136" h="143" extrusionOk="0">
                  <a:moveTo>
                    <a:pt x="120" y="31"/>
                  </a:moveTo>
                  <a:cubicBezTo>
                    <a:pt x="120" y="31"/>
                    <a:pt x="120" y="31"/>
                    <a:pt x="120" y="3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4"/>
                    <a:pt x="40" y="31"/>
                    <a:pt x="36" y="50"/>
                  </a:cubicBezTo>
                  <a:cubicBezTo>
                    <a:pt x="47" y="59"/>
                    <a:pt x="52" y="74"/>
                    <a:pt x="47" y="88"/>
                  </a:cubicBezTo>
                  <a:cubicBezTo>
                    <a:pt x="43" y="102"/>
                    <a:pt x="29" y="112"/>
                    <a:pt x="14" y="112"/>
                  </a:cubicBezTo>
                  <a:cubicBezTo>
                    <a:pt x="12" y="112"/>
                    <a:pt x="9" y="111"/>
                    <a:pt x="6" y="110"/>
                  </a:cubicBezTo>
                  <a:cubicBezTo>
                    <a:pt x="4" y="113"/>
                    <a:pt x="2" y="115"/>
                    <a:pt x="0" y="117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99" y="143"/>
                    <a:pt x="117" y="123"/>
                    <a:pt x="127" y="93"/>
                  </a:cubicBezTo>
                  <a:cubicBezTo>
                    <a:pt x="136" y="64"/>
                    <a:pt x="133" y="37"/>
                    <a:pt x="120" y="3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394" name="Shape 394"/>
            <p:cNvSpPr/>
            <p:nvPr/>
          </p:nvSpPr>
          <p:spPr>
            <a:xfrm>
              <a:off x="8192470" y="6079001"/>
              <a:ext cx="356733" cy="350247"/>
            </a:xfrm>
            <a:custGeom>
              <a:avLst/>
              <a:gdLst/>
              <a:ahLst/>
              <a:cxnLst/>
              <a:rect l="0" t="0" r="0" b="0"/>
              <a:pathLst>
                <a:path w="186" h="183" extrusionOk="0">
                  <a:moveTo>
                    <a:pt x="137" y="131"/>
                  </a:moveTo>
                  <a:cubicBezTo>
                    <a:pt x="141" y="116"/>
                    <a:pt x="155" y="107"/>
                    <a:pt x="170" y="107"/>
                  </a:cubicBezTo>
                  <a:cubicBezTo>
                    <a:pt x="173" y="107"/>
                    <a:pt x="177" y="107"/>
                    <a:pt x="180" y="108"/>
                  </a:cubicBezTo>
                  <a:cubicBezTo>
                    <a:pt x="186" y="78"/>
                    <a:pt x="182" y="52"/>
                    <a:pt x="167" y="45"/>
                  </a:cubicBezTo>
                  <a:cubicBezTo>
                    <a:pt x="167" y="45"/>
                    <a:pt x="167" y="45"/>
                    <a:pt x="167" y="4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7"/>
                    <a:pt x="54" y="15"/>
                    <a:pt x="54" y="25"/>
                  </a:cubicBezTo>
                  <a:cubicBezTo>
                    <a:pt x="54" y="25"/>
                    <a:pt x="54" y="25"/>
                    <a:pt x="54" y="24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3" y="63"/>
                    <a:pt x="166" y="72"/>
                    <a:pt x="165" y="8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2"/>
                    <a:pt x="53" y="51"/>
                    <a:pt x="53" y="51"/>
                  </a:cubicBezTo>
                  <a:cubicBezTo>
                    <a:pt x="52" y="60"/>
                    <a:pt x="50" y="70"/>
                    <a:pt x="47" y="81"/>
                  </a:cubicBezTo>
                  <a:cubicBezTo>
                    <a:pt x="36" y="113"/>
                    <a:pt x="18" y="138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123" y="181"/>
                    <a:pt x="123" y="181"/>
                    <a:pt x="123" y="181"/>
                  </a:cubicBezTo>
                  <a:cubicBezTo>
                    <a:pt x="123" y="181"/>
                    <a:pt x="123" y="181"/>
                    <a:pt x="123" y="181"/>
                  </a:cubicBezTo>
                  <a:cubicBezTo>
                    <a:pt x="132" y="183"/>
                    <a:pt x="141" y="178"/>
                    <a:pt x="150" y="169"/>
                  </a:cubicBezTo>
                  <a:cubicBezTo>
                    <a:pt x="138" y="161"/>
                    <a:pt x="132" y="145"/>
                    <a:pt x="137" y="13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d Plain_Title &amp; Content">
  <p:cSld name="Red Plain_Title &amp; Content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Shape 396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397" name="Shape 397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8" name="Shape 398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399" name="Shape 399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0" name="Shape 400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01" name="Shape 401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402" name="Shape 402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403" name="Shape 403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d Balloons_Title &amp; Content">
  <p:cSld name="Red Balloons_Title &amp; Content"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Shape 405"/>
          <p:cNvSpPr/>
          <p:nvPr/>
        </p:nvSpPr>
        <p:spPr>
          <a:xfrm>
            <a:off x="6235700" y="3492532"/>
            <a:ext cx="2920999" cy="3365466"/>
          </a:xfrm>
          <a:custGeom>
            <a:avLst/>
            <a:gdLst/>
            <a:ahLst/>
            <a:cxnLst/>
            <a:rect l="0" t="0" r="0" b="0"/>
            <a:pathLst>
              <a:path w="1586" h="1827" extrusionOk="0">
                <a:moveTo>
                  <a:pt x="935" y="1133"/>
                </a:moveTo>
                <a:cubicBezTo>
                  <a:pt x="661" y="1434"/>
                  <a:pt x="341" y="1666"/>
                  <a:pt x="0" y="1827"/>
                </a:cubicBezTo>
                <a:cubicBezTo>
                  <a:pt x="1586" y="1827"/>
                  <a:pt x="1586" y="1827"/>
                  <a:pt x="1586" y="1827"/>
                </a:cubicBezTo>
                <a:cubicBezTo>
                  <a:pt x="1586" y="0"/>
                  <a:pt x="1586" y="0"/>
                  <a:pt x="1586" y="0"/>
                </a:cubicBezTo>
                <a:cubicBezTo>
                  <a:pt x="1462" y="403"/>
                  <a:pt x="1245" y="792"/>
                  <a:pt x="935" y="1133"/>
                </a:cubicBezTo>
                <a:close/>
              </a:path>
            </a:pathLst>
          </a:custGeom>
          <a:solidFill>
            <a:srgbClr val="C7D8EF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406" name="Shape 406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7" name="Shape 407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518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408" name="Shape 408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09" name="Shape 409"/>
          <p:cNvGrpSpPr/>
          <p:nvPr/>
        </p:nvGrpSpPr>
        <p:grpSpPr>
          <a:xfrm>
            <a:off x="7378700" y="5090682"/>
            <a:ext cx="975784" cy="1521210"/>
            <a:chOff x="600512" y="922996"/>
            <a:chExt cx="1555459" cy="2424902"/>
          </a:xfrm>
        </p:grpSpPr>
        <p:sp>
          <p:nvSpPr>
            <p:cNvPr id="410" name="Shape 410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11" name="Shape 411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12" name="Shape 412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413" name="Shape 413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14" name="Shape 414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15" name="Shape 415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</p:grpSp>
      <p:grpSp>
        <p:nvGrpSpPr>
          <p:cNvPr id="416" name="Shape 416"/>
          <p:cNvGrpSpPr/>
          <p:nvPr/>
        </p:nvGrpSpPr>
        <p:grpSpPr>
          <a:xfrm>
            <a:off x="8318634" y="4726718"/>
            <a:ext cx="676906" cy="1055270"/>
            <a:chOff x="600512" y="922996"/>
            <a:chExt cx="1555459" cy="2424902"/>
          </a:xfrm>
        </p:grpSpPr>
        <p:sp>
          <p:nvSpPr>
            <p:cNvPr id="417" name="Shape 417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18" name="Shape 418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19" name="Shape 419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420" name="Shape 420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21" name="Shape 421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22" name="Shape 422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/>
              <a:headEnd type="none" w="med" len="med"/>
              <a:tailEnd type="none" w="med" len="med"/>
            </a:ln>
          </p:spPr>
        </p:cxnSp>
      </p:grpSp>
      <p:grpSp>
        <p:nvGrpSpPr>
          <p:cNvPr id="423" name="Shape 423"/>
          <p:cNvGrpSpPr/>
          <p:nvPr/>
        </p:nvGrpSpPr>
        <p:grpSpPr>
          <a:xfrm>
            <a:off x="7215903" y="6451600"/>
            <a:ext cx="397954" cy="171246"/>
            <a:chOff x="5885228" y="1841146"/>
            <a:chExt cx="1084373" cy="466624"/>
          </a:xfrm>
        </p:grpSpPr>
        <p:sp>
          <p:nvSpPr>
            <p:cNvPr id="424" name="Shape 424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25" name="Shape 425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26" name="Shape 426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27" name="Shape 427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28" name="Shape 428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29" name="Shape 429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430" name="Shape 430"/>
          <p:cNvGrpSpPr/>
          <p:nvPr/>
        </p:nvGrpSpPr>
        <p:grpSpPr>
          <a:xfrm>
            <a:off x="8457226" y="6235700"/>
            <a:ext cx="560747" cy="241300"/>
            <a:chOff x="5885228" y="1841146"/>
            <a:chExt cx="1084373" cy="466624"/>
          </a:xfrm>
        </p:grpSpPr>
        <p:sp>
          <p:nvSpPr>
            <p:cNvPr id="431" name="Shape 431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2" name="Shape 432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3" name="Shape 433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4" name="Shape 434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5" name="Shape 435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6" name="Shape 436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437" name="Shape 437"/>
          <p:cNvGrpSpPr/>
          <p:nvPr/>
        </p:nvGrpSpPr>
        <p:grpSpPr>
          <a:xfrm>
            <a:off x="8319448" y="6030582"/>
            <a:ext cx="266266" cy="114578"/>
            <a:chOff x="5885228" y="1841146"/>
            <a:chExt cx="1084373" cy="466624"/>
          </a:xfrm>
        </p:grpSpPr>
        <p:sp>
          <p:nvSpPr>
            <p:cNvPr id="438" name="Shape 438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39" name="Shape 439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40" name="Shape 440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41" name="Shape 441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42" name="Shape 442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43" name="Shape 443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444" name="Shape 444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45" name="Shape 445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446" name="Shape 446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447" name="Shape 447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  <p:grpSp>
        <p:nvGrpSpPr>
          <p:cNvPr id="448" name="Shape 448"/>
          <p:cNvGrpSpPr/>
          <p:nvPr/>
        </p:nvGrpSpPr>
        <p:grpSpPr>
          <a:xfrm>
            <a:off x="7011526" y="5234067"/>
            <a:ext cx="1264222" cy="1024117"/>
            <a:chOff x="6873213" y="5200203"/>
            <a:chExt cx="1417371" cy="1148179"/>
          </a:xfrm>
        </p:grpSpPr>
        <p:sp>
          <p:nvSpPr>
            <p:cNvPr id="449" name="Shape 449"/>
            <p:cNvSpPr/>
            <p:nvPr/>
          </p:nvSpPr>
          <p:spPr>
            <a:xfrm>
              <a:off x="7477120" y="5200203"/>
              <a:ext cx="692716" cy="809944"/>
            </a:xfrm>
            <a:custGeom>
              <a:avLst/>
              <a:gdLst/>
              <a:ahLst/>
              <a:cxnLst/>
              <a:rect l="0" t="0" r="0" b="0"/>
              <a:pathLst>
                <a:path w="165" h="193" extrusionOk="0">
                  <a:moveTo>
                    <a:pt x="152" y="118"/>
                  </a:moveTo>
                  <a:cubicBezTo>
                    <a:pt x="152" y="123"/>
                    <a:pt x="150" y="126"/>
                    <a:pt x="145" y="126"/>
                  </a:cubicBezTo>
                  <a:cubicBezTo>
                    <a:pt x="140" y="126"/>
                    <a:pt x="138" y="123"/>
                    <a:pt x="138" y="118"/>
                  </a:cubicBezTo>
                  <a:cubicBezTo>
                    <a:pt x="138" y="113"/>
                    <a:pt x="140" y="111"/>
                    <a:pt x="145" y="111"/>
                  </a:cubicBezTo>
                  <a:cubicBezTo>
                    <a:pt x="150" y="111"/>
                    <a:pt x="152" y="113"/>
                    <a:pt x="152" y="118"/>
                  </a:cubicBezTo>
                  <a:moveTo>
                    <a:pt x="124" y="99"/>
                  </a:moveTo>
                  <a:cubicBezTo>
                    <a:pt x="120" y="96"/>
                    <a:pt x="116" y="92"/>
                    <a:pt x="112" y="89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101"/>
                    <a:pt x="112" y="105"/>
                    <a:pt x="112" y="110"/>
                  </a:cubicBezTo>
                  <a:cubicBezTo>
                    <a:pt x="116" y="106"/>
                    <a:pt x="120" y="103"/>
                    <a:pt x="124" y="99"/>
                  </a:cubicBezTo>
                  <a:moveTo>
                    <a:pt x="149" y="62"/>
                  </a:moveTo>
                  <a:cubicBezTo>
                    <a:pt x="149" y="55"/>
                    <a:pt x="144" y="52"/>
                    <a:pt x="134" y="52"/>
                  </a:cubicBezTo>
                  <a:cubicBezTo>
                    <a:pt x="127" y="52"/>
                    <a:pt x="119" y="53"/>
                    <a:pt x="109" y="57"/>
                  </a:cubicBezTo>
                  <a:cubicBezTo>
                    <a:pt x="111" y="66"/>
                    <a:pt x="111" y="75"/>
                    <a:pt x="112" y="85"/>
                  </a:cubicBezTo>
                  <a:cubicBezTo>
                    <a:pt x="117" y="89"/>
                    <a:pt x="122" y="92"/>
                    <a:pt x="127" y="96"/>
                  </a:cubicBezTo>
                  <a:cubicBezTo>
                    <a:pt x="142" y="82"/>
                    <a:pt x="149" y="71"/>
                    <a:pt x="149" y="62"/>
                  </a:cubicBezTo>
                  <a:moveTo>
                    <a:pt x="109" y="31"/>
                  </a:moveTo>
                  <a:cubicBezTo>
                    <a:pt x="109" y="37"/>
                    <a:pt x="106" y="39"/>
                    <a:pt x="101" y="39"/>
                  </a:cubicBezTo>
                  <a:cubicBezTo>
                    <a:pt x="96" y="39"/>
                    <a:pt x="94" y="37"/>
                    <a:pt x="94" y="31"/>
                  </a:cubicBezTo>
                  <a:cubicBezTo>
                    <a:pt x="94" y="26"/>
                    <a:pt x="96" y="23"/>
                    <a:pt x="101" y="23"/>
                  </a:cubicBezTo>
                  <a:cubicBezTo>
                    <a:pt x="106" y="23"/>
                    <a:pt x="109" y="26"/>
                    <a:pt x="109" y="31"/>
                  </a:cubicBezTo>
                  <a:moveTo>
                    <a:pt x="108" y="116"/>
                  </a:moveTo>
                  <a:cubicBezTo>
                    <a:pt x="101" y="121"/>
                    <a:pt x="93" y="126"/>
                    <a:pt x="85" y="131"/>
                  </a:cubicBezTo>
                  <a:cubicBezTo>
                    <a:pt x="92" y="134"/>
                    <a:pt x="99" y="137"/>
                    <a:pt x="105" y="139"/>
                  </a:cubicBezTo>
                  <a:cubicBezTo>
                    <a:pt x="106" y="132"/>
                    <a:pt x="108" y="124"/>
                    <a:pt x="108" y="116"/>
                  </a:cubicBezTo>
                  <a:moveTo>
                    <a:pt x="109" y="82"/>
                  </a:moveTo>
                  <a:cubicBezTo>
                    <a:pt x="108" y="74"/>
                    <a:pt x="107" y="66"/>
                    <a:pt x="106" y="58"/>
                  </a:cubicBezTo>
                  <a:cubicBezTo>
                    <a:pt x="99" y="61"/>
                    <a:pt x="92" y="64"/>
                    <a:pt x="85" y="67"/>
                  </a:cubicBezTo>
                  <a:cubicBezTo>
                    <a:pt x="93" y="72"/>
                    <a:pt x="101" y="77"/>
                    <a:pt x="109" y="82"/>
                  </a:cubicBezTo>
                  <a:moveTo>
                    <a:pt x="104" y="144"/>
                  </a:moveTo>
                  <a:cubicBezTo>
                    <a:pt x="97" y="140"/>
                    <a:pt x="90" y="137"/>
                    <a:pt x="82" y="132"/>
                  </a:cubicBezTo>
                  <a:cubicBezTo>
                    <a:pt x="76" y="136"/>
                    <a:pt x="69" y="139"/>
                    <a:pt x="63" y="143"/>
                  </a:cubicBezTo>
                  <a:cubicBezTo>
                    <a:pt x="68" y="163"/>
                    <a:pt x="75" y="174"/>
                    <a:pt x="84" y="174"/>
                  </a:cubicBezTo>
                  <a:cubicBezTo>
                    <a:pt x="92" y="174"/>
                    <a:pt x="99" y="164"/>
                    <a:pt x="104" y="144"/>
                  </a:cubicBezTo>
                  <a:moveTo>
                    <a:pt x="79" y="131"/>
                  </a:moveTo>
                  <a:cubicBezTo>
                    <a:pt x="72" y="127"/>
                    <a:pt x="65" y="122"/>
                    <a:pt x="59" y="118"/>
                  </a:cubicBezTo>
                  <a:cubicBezTo>
                    <a:pt x="60" y="125"/>
                    <a:pt x="61" y="132"/>
                    <a:pt x="62" y="139"/>
                  </a:cubicBezTo>
                  <a:cubicBezTo>
                    <a:pt x="68" y="136"/>
                    <a:pt x="73" y="134"/>
                    <a:pt x="79" y="131"/>
                  </a:cubicBezTo>
                  <a:moveTo>
                    <a:pt x="79" y="67"/>
                  </a:moveTo>
                  <a:cubicBezTo>
                    <a:pt x="73" y="64"/>
                    <a:pt x="67" y="61"/>
                    <a:pt x="61" y="59"/>
                  </a:cubicBezTo>
                  <a:cubicBezTo>
                    <a:pt x="60" y="66"/>
                    <a:pt x="59" y="73"/>
                    <a:pt x="58" y="81"/>
                  </a:cubicBezTo>
                  <a:cubicBezTo>
                    <a:pt x="65" y="76"/>
                    <a:pt x="72" y="72"/>
                    <a:pt x="79" y="67"/>
                  </a:cubicBezTo>
                  <a:moveTo>
                    <a:pt x="109" y="96"/>
                  </a:moveTo>
                  <a:cubicBezTo>
                    <a:pt x="109" y="93"/>
                    <a:pt x="109" y="90"/>
                    <a:pt x="109" y="86"/>
                  </a:cubicBezTo>
                  <a:cubicBezTo>
                    <a:pt x="100" y="80"/>
                    <a:pt x="92" y="74"/>
                    <a:pt x="82" y="69"/>
                  </a:cubicBezTo>
                  <a:cubicBezTo>
                    <a:pt x="74" y="74"/>
                    <a:pt x="66" y="79"/>
                    <a:pt x="58" y="85"/>
                  </a:cubicBezTo>
                  <a:cubicBezTo>
                    <a:pt x="58" y="88"/>
                    <a:pt x="58" y="92"/>
                    <a:pt x="58" y="96"/>
                  </a:cubicBezTo>
                  <a:cubicBezTo>
                    <a:pt x="58" y="102"/>
                    <a:pt x="58" y="108"/>
                    <a:pt x="59" y="114"/>
                  </a:cubicBezTo>
                  <a:cubicBezTo>
                    <a:pt x="66" y="119"/>
                    <a:pt x="74" y="124"/>
                    <a:pt x="82" y="129"/>
                  </a:cubicBezTo>
                  <a:cubicBezTo>
                    <a:pt x="91" y="124"/>
                    <a:pt x="100" y="118"/>
                    <a:pt x="109" y="112"/>
                  </a:cubicBezTo>
                  <a:cubicBezTo>
                    <a:pt x="109" y="107"/>
                    <a:pt x="109" y="102"/>
                    <a:pt x="109" y="96"/>
                  </a:cubicBezTo>
                  <a:moveTo>
                    <a:pt x="55" y="111"/>
                  </a:moveTo>
                  <a:cubicBezTo>
                    <a:pt x="55" y="106"/>
                    <a:pt x="55" y="101"/>
                    <a:pt x="55" y="96"/>
                  </a:cubicBezTo>
                  <a:cubicBezTo>
                    <a:pt x="55" y="93"/>
                    <a:pt x="55" y="90"/>
                    <a:pt x="55" y="87"/>
                  </a:cubicBezTo>
                  <a:cubicBezTo>
                    <a:pt x="50" y="91"/>
                    <a:pt x="45" y="95"/>
                    <a:pt x="40" y="99"/>
                  </a:cubicBezTo>
                  <a:cubicBezTo>
                    <a:pt x="45" y="103"/>
                    <a:pt x="50" y="107"/>
                    <a:pt x="55" y="111"/>
                  </a:cubicBezTo>
                  <a:moveTo>
                    <a:pt x="57" y="58"/>
                  </a:moveTo>
                  <a:cubicBezTo>
                    <a:pt x="47" y="54"/>
                    <a:pt x="38" y="52"/>
                    <a:pt x="31" y="52"/>
                  </a:cubicBezTo>
                  <a:cubicBezTo>
                    <a:pt x="21" y="52"/>
                    <a:pt x="16" y="55"/>
                    <a:pt x="16" y="62"/>
                  </a:cubicBezTo>
                  <a:cubicBezTo>
                    <a:pt x="16" y="71"/>
                    <a:pt x="23" y="82"/>
                    <a:pt x="38" y="96"/>
                  </a:cubicBezTo>
                  <a:cubicBezTo>
                    <a:pt x="43" y="92"/>
                    <a:pt x="49" y="87"/>
                    <a:pt x="55" y="83"/>
                  </a:cubicBezTo>
                  <a:cubicBezTo>
                    <a:pt x="56" y="74"/>
                    <a:pt x="56" y="66"/>
                    <a:pt x="57" y="58"/>
                  </a:cubicBezTo>
                  <a:moveTo>
                    <a:pt x="27" y="119"/>
                  </a:moveTo>
                  <a:cubicBezTo>
                    <a:pt x="27" y="125"/>
                    <a:pt x="24" y="128"/>
                    <a:pt x="19" y="128"/>
                  </a:cubicBezTo>
                  <a:cubicBezTo>
                    <a:pt x="13" y="128"/>
                    <a:pt x="10" y="125"/>
                    <a:pt x="10" y="119"/>
                  </a:cubicBezTo>
                  <a:cubicBezTo>
                    <a:pt x="10" y="114"/>
                    <a:pt x="13" y="111"/>
                    <a:pt x="19" y="111"/>
                  </a:cubicBezTo>
                  <a:cubicBezTo>
                    <a:pt x="24" y="111"/>
                    <a:pt x="27" y="114"/>
                    <a:pt x="27" y="119"/>
                  </a:cubicBezTo>
                  <a:moveTo>
                    <a:pt x="165" y="146"/>
                  </a:moveTo>
                  <a:cubicBezTo>
                    <a:pt x="165" y="153"/>
                    <a:pt x="160" y="157"/>
                    <a:pt x="150" y="157"/>
                  </a:cubicBezTo>
                  <a:cubicBezTo>
                    <a:pt x="139" y="157"/>
                    <a:pt x="125" y="153"/>
                    <a:pt x="108" y="145"/>
                  </a:cubicBezTo>
                  <a:cubicBezTo>
                    <a:pt x="103" y="177"/>
                    <a:pt x="94" y="193"/>
                    <a:pt x="84" y="193"/>
                  </a:cubicBezTo>
                  <a:cubicBezTo>
                    <a:pt x="77" y="193"/>
                    <a:pt x="71" y="186"/>
                    <a:pt x="66" y="173"/>
                  </a:cubicBezTo>
                  <a:cubicBezTo>
                    <a:pt x="63" y="164"/>
                    <a:pt x="61" y="155"/>
                    <a:pt x="59" y="144"/>
                  </a:cubicBezTo>
                  <a:cubicBezTo>
                    <a:pt x="40" y="153"/>
                    <a:pt x="26" y="157"/>
                    <a:pt x="15" y="157"/>
                  </a:cubicBezTo>
                  <a:cubicBezTo>
                    <a:pt x="5" y="157"/>
                    <a:pt x="0" y="153"/>
                    <a:pt x="0" y="146"/>
                  </a:cubicBezTo>
                  <a:cubicBezTo>
                    <a:pt x="0" y="142"/>
                    <a:pt x="2" y="137"/>
                    <a:pt x="5" y="131"/>
                  </a:cubicBezTo>
                  <a:cubicBezTo>
                    <a:pt x="7" y="129"/>
                    <a:pt x="9" y="129"/>
                    <a:pt x="10" y="129"/>
                  </a:cubicBezTo>
                  <a:cubicBezTo>
                    <a:pt x="13" y="129"/>
                    <a:pt x="15" y="130"/>
                    <a:pt x="16" y="133"/>
                  </a:cubicBezTo>
                  <a:cubicBezTo>
                    <a:pt x="15" y="142"/>
                    <a:pt x="20" y="146"/>
                    <a:pt x="31" y="146"/>
                  </a:cubicBezTo>
                  <a:cubicBezTo>
                    <a:pt x="38" y="146"/>
                    <a:pt x="47" y="144"/>
                    <a:pt x="58" y="140"/>
                  </a:cubicBezTo>
                  <a:cubicBezTo>
                    <a:pt x="57" y="132"/>
                    <a:pt x="56" y="124"/>
                    <a:pt x="56" y="115"/>
                  </a:cubicBezTo>
                  <a:cubicBezTo>
                    <a:pt x="49" y="111"/>
                    <a:pt x="43" y="106"/>
                    <a:pt x="38" y="102"/>
                  </a:cubicBezTo>
                  <a:cubicBezTo>
                    <a:pt x="35" y="105"/>
                    <a:pt x="31" y="108"/>
                    <a:pt x="27" y="113"/>
                  </a:cubicBezTo>
                  <a:cubicBezTo>
                    <a:pt x="26" y="111"/>
                    <a:pt x="25" y="110"/>
                    <a:pt x="24" y="109"/>
                  </a:cubicBezTo>
                  <a:cubicBezTo>
                    <a:pt x="29" y="104"/>
                    <a:pt x="32" y="101"/>
                    <a:pt x="35" y="99"/>
                  </a:cubicBezTo>
                  <a:cubicBezTo>
                    <a:pt x="11" y="79"/>
                    <a:pt x="0" y="63"/>
                    <a:pt x="0" y="52"/>
                  </a:cubicBezTo>
                  <a:cubicBezTo>
                    <a:pt x="0" y="45"/>
                    <a:pt x="5" y="41"/>
                    <a:pt x="15" y="41"/>
                  </a:cubicBezTo>
                  <a:cubicBezTo>
                    <a:pt x="26" y="41"/>
                    <a:pt x="40" y="45"/>
                    <a:pt x="58" y="53"/>
                  </a:cubicBezTo>
                  <a:cubicBezTo>
                    <a:pt x="60" y="41"/>
                    <a:pt x="62" y="31"/>
                    <a:pt x="65" y="22"/>
                  </a:cubicBezTo>
                  <a:cubicBezTo>
                    <a:pt x="70" y="7"/>
                    <a:pt x="76" y="0"/>
                    <a:pt x="84" y="0"/>
                  </a:cubicBezTo>
                  <a:cubicBezTo>
                    <a:pt x="87" y="0"/>
                    <a:pt x="91" y="2"/>
                    <a:pt x="95" y="7"/>
                  </a:cubicBezTo>
                  <a:cubicBezTo>
                    <a:pt x="99" y="12"/>
                    <a:pt x="101" y="16"/>
                    <a:pt x="101" y="20"/>
                  </a:cubicBezTo>
                  <a:cubicBezTo>
                    <a:pt x="101" y="22"/>
                    <a:pt x="98" y="24"/>
                    <a:pt x="94" y="24"/>
                  </a:cubicBezTo>
                  <a:cubicBezTo>
                    <a:pt x="93" y="24"/>
                    <a:pt x="92" y="24"/>
                    <a:pt x="92" y="24"/>
                  </a:cubicBezTo>
                  <a:cubicBezTo>
                    <a:pt x="90" y="21"/>
                    <a:pt x="87" y="19"/>
                    <a:pt x="84" y="19"/>
                  </a:cubicBezTo>
                  <a:cubicBezTo>
                    <a:pt x="74" y="19"/>
                    <a:pt x="67" y="31"/>
                    <a:pt x="62" y="55"/>
                  </a:cubicBezTo>
                  <a:cubicBezTo>
                    <a:pt x="68" y="58"/>
                    <a:pt x="75" y="62"/>
                    <a:pt x="82" y="66"/>
                  </a:cubicBezTo>
                  <a:cubicBezTo>
                    <a:pt x="90" y="61"/>
                    <a:pt x="98" y="57"/>
                    <a:pt x="105" y="54"/>
                  </a:cubicBezTo>
                  <a:cubicBezTo>
                    <a:pt x="103" y="48"/>
                    <a:pt x="102" y="44"/>
                    <a:pt x="102" y="41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7" y="43"/>
                    <a:pt x="108" y="47"/>
                    <a:pt x="109" y="52"/>
                  </a:cubicBezTo>
                  <a:cubicBezTo>
                    <a:pt x="126" y="45"/>
                    <a:pt x="139" y="41"/>
                    <a:pt x="150" y="41"/>
                  </a:cubicBezTo>
                  <a:cubicBezTo>
                    <a:pt x="160" y="41"/>
                    <a:pt x="165" y="45"/>
                    <a:pt x="165" y="52"/>
                  </a:cubicBezTo>
                  <a:cubicBezTo>
                    <a:pt x="165" y="63"/>
                    <a:pt x="153" y="79"/>
                    <a:pt x="130" y="99"/>
                  </a:cubicBezTo>
                  <a:cubicBezTo>
                    <a:pt x="134" y="102"/>
                    <a:pt x="137" y="105"/>
                    <a:pt x="140" y="108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33" y="107"/>
                    <a:pt x="129" y="104"/>
                    <a:pt x="127" y="102"/>
                  </a:cubicBezTo>
                  <a:cubicBezTo>
                    <a:pt x="122" y="106"/>
                    <a:pt x="117" y="110"/>
                    <a:pt x="111" y="114"/>
                  </a:cubicBezTo>
                  <a:cubicBezTo>
                    <a:pt x="111" y="123"/>
                    <a:pt x="110" y="132"/>
                    <a:pt x="109" y="141"/>
                  </a:cubicBezTo>
                  <a:cubicBezTo>
                    <a:pt x="119" y="145"/>
                    <a:pt x="127" y="146"/>
                    <a:pt x="134" y="146"/>
                  </a:cubicBezTo>
                  <a:cubicBezTo>
                    <a:pt x="140" y="146"/>
                    <a:pt x="145" y="145"/>
                    <a:pt x="147" y="141"/>
                  </a:cubicBezTo>
                  <a:cubicBezTo>
                    <a:pt x="149" y="138"/>
                    <a:pt x="149" y="134"/>
                    <a:pt x="147" y="129"/>
                  </a:cubicBezTo>
                  <a:cubicBezTo>
                    <a:pt x="149" y="125"/>
                    <a:pt x="151" y="123"/>
                    <a:pt x="152" y="123"/>
                  </a:cubicBezTo>
                  <a:cubicBezTo>
                    <a:pt x="153" y="123"/>
                    <a:pt x="154" y="123"/>
                    <a:pt x="154" y="124"/>
                  </a:cubicBezTo>
                  <a:cubicBezTo>
                    <a:pt x="161" y="133"/>
                    <a:pt x="165" y="140"/>
                    <a:pt x="165" y="1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50" name="Shape 450"/>
            <p:cNvSpPr/>
            <p:nvPr/>
          </p:nvSpPr>
          <p:spPr>
            <a:xfrm>
              <a:off x="6873213" y="5477289"/>
              <a:ext cx="268205" cy="255771"/>
            </a:xfrm>
            <a:custGeom>
              <a:avLst/>
              <a:gdLst/>
              <a:ahLst/>
              <a:cxnLst/>
              <a:rect l="0" t="0" r="0" b="0"/>
              <a:pathLst>
                <a:path w="151" h="144" extrusionOk="0">
                  <a:moveTo>
                    <a:pt x="118" y="144"/>
                  </a:moveTo>
                  <a:lnTo>
                    <a:pt x="73" y="108"/>
                  </a:lnTo>
                  <a:lnTo>
                    <a:pt x="24" y="139"/>
                  </a:lnTo>
                  <a:lnTo>
                    <a:pt x="45" y="87"/>
                  </a:lnTo>
                  <a:lnTo>
                    <a:pt x="0" y="49"/>
                  </a:lnTo>
                  <a:lnTo>
                    <a:pt x="57" y="52"/>
                  </a:lnTo>
                  <a:lnTo>
                    <a:pt x="78" y="0"/>
                  </a:lnTo>
                  <a:lnTo>
                    <a:pt x="94" y="54"/>
                  </a:lnTo>
                  <a:lnTo>
                    <a:pt x="151" y="56"/>
                  </a:lnTo>
                  <a:lnTo>
                    <a:pt x="101" y="89"/>
                  </a:lnTo>
                  <a:lnTo>
                    <a:pt x="118" y="1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51" name="Shape 451"/>
            <p:cNvSpPr/>
            <p:nvPr/>
          </p:nvSpPr>
          <p:spPr>
            <a:xfrm>
              <a:off x="8155593" y="6204512"/>
              <a:ext cx="134991" cy="143871"/>
            </a:xfrm>
            <a:custGeom>
              <a:avLst/>
              <a:gdLst/>
              <a:ahLst/>
              <a:cxnLst/>
              <a:rect l="0" t="0" r="0" b="0"/>
              <a:pathLst>
                <a:path w="76" h="81" extrusionOk="0">
                  <a:moveTo>
                    <a:pt x="47" y="81"/>
                  </a:moveTo>
                  <a:lnTo>
                    <a:pt x="31" y="57"/>
                  </a:lnTo>
                  <a:lnTo>
                    <a:pt x="0" y="64"/>
                  </a:lnTo>
                  <a:lnTo>
                    <a:pt x="19" y="40"/>
                  </a:lnTo>
                  <a:lnTo>
                    <a:pt x="0" y="17"/>
                  </a:lnTo>
                  <a:lnTo>
                    <a:pt x="31" y="26"/>
                  </a:lnTo>
                  <a:lnTo>
                    <a:pt x="47" y="0"/>
                  </a:lnTo>
                  <a:lnTo>
                    <a:pt x="47" y="31"/>
                  </a:lnTo>
                  <a:lnTo>
                    <a:pt x="76" y="40"/>
                  </a:lnTo>
                  <a:lnTo>
                    <a:pt x="47" y="50"/>
                  </a:lnTo>
                  <a:lnTo>
                    <a:pt x="47" y="8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452" name="Shape 452"/>
          <p:cNvSpPr/>
          <p:nvPr/>
        </p:nvSpPr>
        <p:spPr>
          <a:xfrm>
            <a:off x="8810910" y="4492466"/>
            <a:ext cx="240809" cy="232888"/>
          </a:xfrm>
          <a:custGeom>
            <a:avLst/>
            <a:gdLst/>
            <a:ahLst/>
            <a:cxnLst/>
            <a:rect l="0" t="0" r="0" b="0"/>
            <a:pathLst>
              <a:path w="152" h="147" extrusionOk="0">
                <a:moveTo>
                  <a:pt x="121" y="147"/>
                </a:moveTo>
                <a:lnTo>
                  <a:pt x="74" y="109"/>
                </a:lnTo>
                <a:lnTo>
                  <a:pt x="26" y="142"/>
                </a:lnTo>
                <a:lnTo>
                  <a:pt x="48" y="88"/>
                </a:lnTo>
                <a:lnTo>
                  <a:pt x="0" y="52"/>
                </a:lnTo>
                <a:lnTo>
                  <a:pt x="59" y="55"/>
                </a:lnTo>
                <a:lnTo>
                  <a:pt x="81" y="0"/>
                </a:lnTo>
                <a:lnTo>
                  <a:pt x="95" y="57"/>
                </a:lnTo>
                <a:lnTo>
                  <a:pt x="152" y="59"/>
                </a:lnTo>
                <a:lnTo>
                  <a:pt x="104" y="92"/>
                </a:lnTo>
                <a:lnTo>
                  <a:pt x="121" y="14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453" name="Shape 453"/>
          <p:cNvSpPr/>
          <p:nvPr/>
        </p:nvSpPr>
        <p:spPr>
          <a:xfrm>
            <a:off x="8459839" y="4849571"/>
            <a:ext cx="386809" cy="452271"/>
          </a:xfrm>
          <a:custGeom>
            <a:avLst/>
            <a:gdLst/>
            <a:ahLst/>
            <a:cxnLst/>
            <a:rect l="0" t="0" r="0" b="0"/>
            <a:pathLst>
              <a:path w="165" h="193" extrusionOk="0">
                <a:moveTo>
                  <a:pt x="152" y="118"/>
                </a:moveTo>
                <a:cubicBezTo>
                  <a:pt x="152" y="123"/>
                  <a:pt x="150" y="126"/>
                  <a:pt x="145" y="126"/>
                </a:cubicBezTo>
                <a:cubicBezTo>
                  <a:pt x="140" y="126"/>
                  <a:pt x="138" y="123"/>
                  <a:pt x="138" y="118"/>
                </a:cubicBezTo>
                <a:cubicBezTo>
                  <a:pt x="138" y="113"/>
                  <a:pt x="140" y="111"/>
                  <a:pt x="145" y="111"/>
                </a:cubicBezTo>
                <a:cubicBezTo>
                  <a:pt x="150" y="111"/>
                  <a:pt x="152" y="113"/>
                  <a:pt x="152" y="118"/>
                </a:cubicBezTo>
                <a:moveTo>
                  <a:pt x="124" y="99"/>
                </a:moveTo>
                <a:cubicBezTo>
                  <a:pt x="120" y="96"/>
                  <a:pt x="116" y="92"/>
                  <a:pt x="112" y="89"/>
                </a:cubicBezTo>
                <a:cubicBezTo>
                  <a:pt x="112" y="96"/>
                  <a:pt x="112" y="96"/>
                  <a:pt x="112" y="96"/>
                </a:cubicBezTo>
                <a:cubicBezTo>
                  <a:pt x="112" y="101"/>
                  <a:pt x="112" y="105"/>
                  <a:pt x="112" y="110"/>
                </a:cubicBezTo>
                <a:cubicBezTo>
                  <a:pt x="116" y="106"/>
                  <a:pt x="120" y="103"/>
                  <a:pt x="124" y="99"/>
                </a:cubicBezTo>
                <a:moveTo>
                  <a:pt x="149" y="62"/>
                </a:moveTo>
                <a:cubicBezTo>
                  <a:pt x="149" y="55"/>
                  <a:pt x="144" y="52"/>
                  <a:pt x="134" y="52"/>
                </a:cubicBezTo>
                <a:cubicBezTo>
                  <a:pt x="127" y="52"/>
                  <a:pt x="119" y="53"/>
                  <a:pt x="109" y="57"/>
                </a:cubicBezTo>
                <a:cubicBezTo>
                  <a:pt x="111" y="66"/>
                  <a:pt x="111" y="75"/>
                  <a:pt x="112" y="85"/>
                </a:cubicBezTo>
                <a:cubicBezTo>
                  <a:pt x="117" y="89"/>
                  <a:pt x="122" y="92"/>
                  <a:pt x="127" y="96"/>
                </a:cubicBezTo>
                <a:cubicBezTo>
                  <a:pt x="142" y="82"/>
                  <a:pt x="149" y="71"/>
                  <a:pt x="149" y="62"/>
                </a:cubicBezTo>
                <a:moveTo>
                  <a:pt x="109" y="31"/>
                </a:moveTo>
                <a:cubicBezTo>
                  <a:pt x="109" y="37"/>
                  <a:pt x="106" y="39"/>
                  <a:pt x="101" y="39"/>
                </a:cubicBezTo>
                <a:cubicBezTo>
                  <a:pt x="96" y="39"/>
                  <a:pt x="94" y="37"/>
                  <a:pt x="94" y="31"/>
                </a:cubicBezTo>
                <a:cubicBezTo>
                  <a:pt x="94" y="26"/>
                  <a:pt x="96" y="23"/>
                  <a:pt x="101" y="23"/>
                </a:cubicBezTo>
                <a:cubicBezTo>
                  <a:pt x="106" y="23"/>
                  <a:pt x="109" y="26"/>
                  <a:pt x="109" y="31"/>
                </a:cubicBezTo>
                <a:moveTo>
                  <a:pt x="108" y="116"/>
                </a:moveTo>
                <a:cubicBezTo>
                  <a:pt x="101" y="121"/>
                  <a:pt x="93" y="126"/>
                  <a:pt x="85" y="131"/>
                </a:cubicBezTo>
                <a:cubicBezTo>
                  <a:pt x="92" y="134"/>
                  <a:pt x="99" y="137"/>
                  <a:pt x="105" y="139"/>
                </a:cubicBezTo>
                <a:cubicBezTo>
                  <a:pt x="106" y="132"/>
                  <a:pt x="108" y="124"/>
                  <a:pt x="108" y="116"/>
                </a:cubicBezTo>
                <a:moveTo>
                  <a:pt x="109" y="82"/>
                </a:moveTo>
                <a:cubicBezTo>
                  <a:pt x="108" y="74"/>
                  <a:pt x="107" y="66"/>
                  <a:pt x="106" y="58"/>
                </a:cubicBezTo>
                <a:cubicBezTo>
                  <a:pt x="99" y="61"/>
                  <a:pt x="92" y="64"/>
                  <a:pt x="85" y="67"/>
                </a:cubicBezTo>
                <a:cubicBezTo>
                  <a:pt x="93" y="72"/>
                  <a:pt x="101" y="77"/>
                  <a:pt x="109" y="82"/>
                </a:cubicBezTo>
                <a:moveTo>
                  <a:pt x="104" y="144"/>
                </a:moveTo>
                <a:cubicBezTo>
                  <a:pt x="97" y="140"/>
                  <a:pt x="90" y="137"/>
                  <a:pt x="82" y="132"/>
                </a:cubicBezTo>
                <a:cubicBezTo>
                  <a:pt x="76" y="136"/>
                  <a:pt x="69" y="139"/>
                  <a:pt x="63" y="143"/>
                </a:cubicBezTo>
                <a:cubicBezTo>
                  <a:pt x="68" y="163"/>
                  <a:pt x="75" y="174"/>
                  <a:pt x="84" y="174"/>
                </a:cubicBezTo>
                <a:cubicBezTo>
                  <a:pt x="92" y="174"/>
                  <a:pt x="99" y="164"/>
                  <a:pt x="104" y="144"/>
                </a:cubicBezTo>
                <a:moveTo>
                  <a:pt x="79" y="131"/>
                </a:moveTo>
                <a:cubicBezTo>
                  <a:pt x="72" y="127"/>
                  <a:pt x="65" y="122"/>
                  <a:pt x="59" y="118"/>
                </a:cubicBezTo>
                <a:cubicBezTo>
                  <a:pt x="60" y="125"/>
                  <a:pt x="61" y="132"/>
                  <a:pt x="62" y="139"/>
                </a:cubicBezTo>
                <a:cubicBezTo>
                  <a:pt x="68" y="136"/>
                  <a:pt x="73" y="134"/>
                  <a:pt x="79" y="131"/>
                </a:cubicBezTo>
                <a:moveTo>
                  <a:pt x="79" y="67"/>
                </a:moveTo>
                <a:cubicBezTo>
                  <a:pt x="73" y="64"/>
                  <a:pt x="67" y="61"/>
                  <a:pt x="61" y="59"/>
                </a:cubicBezTo>
                <a:cubicBezTo>
                  <a:pt x="60" y="66"/>
                  <a:pt x="59" y="73"/>
                  <a:pt x="58" y="81"/>
                </a:cubicBezTo>
                <a:cubicBezTo>
                  <a:pt x="65" y="76"/>
                  <a:pt x="72" y="72"/>
                  <a:pt x="79" y="67"/>
                </a:cubicBezTo>
                <a:moveTo>
                  <a:pt x="109" y="96"/>
                </a:moveTo>
                <a:cubicBezTo>
                  <a:pt x="109" y="93"/>
                  <a:pt x="109" y="90"/>
                  <a:pt x="109" y="86"/>
                </a:cubicBezTo>
                <a:cubicBezTo>
                  <a:pt x="100" y="80"/>
                  <a:pt x="92" y="74"/>
                  <a:pt x="82" y="69"/>
                </a:cubicBezTo>
                <a:cubicBezTo>
                  <a:pt x="74" y="74"/>
                  <a:pt x="66" y="79"/>
                  <a:pt x="58" y="85"/>
                </a:cubicBezTo>
                <a:cubicBezTo>
                  <a:pt x="58" y="88"/>
                  <a:pt x="58" y="92"/>
                  <a:pt x="58" y="96"/>
                </a:cubicBezTo>
                <a:cubicBezTo>
                  <a:pt x="58" y="102"/>
                  <a:pt x="58" y="108"/>
                  <a:pt x="59" y="114"/>
                </a:cubicBezTo>
                <a:cubicBezTo>
                  <a:pt x="66" y="119"/>
                  <a:pt x="74" y="124"/>
                  <a:pt x="82" y="129"/>
                </a:cubicBezTo>
                <a:cubicBezTo>
                  <a:pt x="91" y="124"/>
                  <a:pt x="100" y="118"/>
                  <a:pt x="109" y="112"/>
                </a:cubicBezTo>
                <a:cubicBezTo>
                  <a:pt x="109" y="107"/>
                  <a:pt x="109" y="102"/>
                  <a:pt x="109" y="96"/>
                </a:cubicBezTo>
                <a:moveTo>
                  <a:pt x="55" y="111"/>
                </a:moveTo>
                <a:cubicBezTo>
                  <a:pt x="55" y="106"/>
                  <a:pt x="55" y="101"/>
                  <a:pt x="55" y="96"/>
                </a:cubicBezTo>
                <a:cubicBezTo>
                  <a:pt x="55" y="93"/>
                  <a:pt x="55" y="90"/>
                  <a:pt x="55" y="87"/>
                </a:cubicBezTo>
                <a:cubicBezTo>
                  <a:pt x="50" y="91"/>
                  <a:pt x="45" y="95"/>
                  <a:pt x="40" y="99"/>
                </a:cubicBezTo>
                <a:cubicBezTo>
                  <a:pt x="45" y="103"/>
                  <a:pt x="50" y="107"/>
                  <a:pt x="55" y="111"/>
                </a:cubicBezTo>
                <a:moveTo>
                  <a:pt x="57" y="58"/>
                </a:moveTo>
                <a:cubicBezTo>
                  <a:pt x="47" y="54"/>
                  <a:pt x="38" y="52"/>
                  <a:pt x="31" y="52"/>
                </a:cubicBezTo>
                <a:cubicBezTo>
                  <a:pt x="21" y="52"/>
                  <a:pt x="16" y="55"/>
                  <a:pt x="16" y="62"/>
                </a:cubicBezTo>
                <a:cubicBezTo>
                  <a:pt x="16" y="71"/>
                  <a:pt x="23" y="82"/>
                  <a:pt x="38" y="96"/>
                </a:cubicBezTo>
                <a:cubicBezTo>
                  <a:pt x="43" y="92"/>
                  <a:pt x="49" y="87"/>
                  <a:pt x="55" y="83"/>
                </a:cubicBezTo>
                <a:cubicBezTo>
                  <a:pt x="56" y="74"/>
                  <a:pt x="56" y="66"/>
                  <a:pt x="57" y="58"/>
                </a:cubicBezTo>
                <a:moveTo>
                  <a:pt x="27" y="119"/>
                </a:moveTo>
                <a:cubicBezTo>
                  <a:pt x="27" y="125"/>
                  <a:pt x="24" y="128"/>
                  <a:pt x="19" y="128"/>
                </a:cubicBezTo>
                <a:cubicBezTo>
                  <a:pt x="13" y="128"/>
                  <a:pt x="10" y="125"/>
                  <a:pt x="10" y="119"/>
                </a:cubicBezTo>
                <a:cubicBezTo>
                  <a:pt x="10" y="114"/>
                  <a:pt x="13" y="111"/>
                  <a:pt x="19" y="111"/>
                </a:cubicBezTo>
                <a:cubicBezTo>
                  <a:pt x="24" y="111"/>
                  <a:pt x="27" y="114"/>
                  <a:pt x="27" y="119"/>
                </a:cubicBezTo>
                <a:moveTo>
                  <a:pt x="165" y="146"/>
                </a:moveTo>
                <a:cubicBezTo>
                  <a:pt x="165" y="153"/>
                  <a:pt x="160" y="157"/>
                  <a:pt x="150" y="157"/>
                </a:cubicBezTo>
                <a:cubicBezTo>
                  <a:pt x="139" y="157"/>
                  <a:pt x="125" y="153"/>
                  <a:pt x="108" y="145"/>
                </a:cubicBezTo>
                <a:cubicBezTo>
                  <a:pt x="103" y="177"/>
                  <a:pt x="94" y="193"/>
                  <a:pt x="84" y="193"/>
                </a:cubicBezTo>
                <a:cubicBezTo>
                  <a:pt x="77" y="193"/>
                  <a:pt x="71" y="186"/>
                  <a:pt x="66" y="173"/>
                </a:cubicBezTo>
                <a:cubicBezTo>
                  <a:pt x="63" y="164"/>
                  <a:pt x="61" y="155"/>
                  <a:pt x="59" y="144"/>
                </a:cubicBezTo>
                <a:cubicBezTo>
                  <a:pt x="40" y="153"/>
                  <a:pt x="26" y="157"/>
                  <a:pt x="15" y="157"/>
                </a:cubicBezTo>
                <a:cubicBezTo>
                  <a:pt x="5" y="157"/>
                  <a:pt x="0" y="153"/>
                  <a:pt x="0" y="146"/>
                </a:cubicBezTo>
                <a:cubicBezTo>
                  <a:pt x="0" y="142"/>
                  <a:pt x="2" y="137"/>
                  <a:pt x="5" y="131"/>
                </a:cubicBezTo>
                <a:cubicBezTo>
                  <a:pt x="7" y="129"/>
                  <a:pt x="9" y="129"/>
                  <a:pt x="10" y="129"/>
                </a:cubicBezTo>
                <a:cubicBezTo>
                  <a:pt x="13" y="129"/>
                  <a:pt x="15" y="130"/>
                  <a:pt x="16" y="133"/>
                </a:cubicBezTo>
                <a:cubicBezTo>
                  <a:pt x="15" y="142"/>
                  <a:pt x="20" y="146"/>
                  <a:pt x="31" y="146"/>
                </a:cubicBezTo>
                <a:cubicBezTo>
                  <a:pt x="38" y="146"/>
                  <a:pt x="47" y="144"/>
                  <a:pt x="58" y="140"/>
                </a:cubicBezTo>
                <a:cubicBezTo>
                  <a:pt x="57" y="132"/>
                  <a:pt x="56" y="124"/>
                  <a:pt x="56" y="115"/>
                </a:cubicBezTo>
                <a:cubicBezTo>
                  <a:pt x="49" y="111"/>
                  <a:pt x="43" y="106"/>
                  <a:pt x="38" y="102"/>
                </a:cubicBezTo>
                <a:cubicBezTo>
                  <a:pt x="35" y="105"/>
                  <a:pt x="31" y="108"/>
                  <a:pt x="27" y="113"/>
                </a:cubicBezTo>
                <a:cubicBezTo>
                  <a:pt x="26" y="111"/>
                  <a:pt x="25" y="110"/>
                  <a:pt x="24" y="109"/>
                </a:cubicBezTo>
                <a:cubicBezTo>
                  <a:pt x="29" y="104"/>
                  <a:pt x="32" y="101"/>
                  <a:pt x="35" y="99"/>
                </a:cubicBezTo>
                <a:cubicBezTo>
                  <a:pt x="11" y="79"/>
                  <a:pt x="0" y="63"/>
                  <a:pt x="0" y="52"/>
                </a:cubicBezTo>
                <a:cubicBezTo>
                  <a:pt x="0" y="45"/>
                  <a:pt x="5" y="41"/>
                  <a:pt x="15" y="41"/>
                </a:cubicBezTo>
                <a:cubicBezTo>
                  <a:pt x="26" y="41"/>
                  <a:pt x="40" y="45"/>
                  <a:pt x="58" y="53"/>
                </a:cubicBezTo>
                <a:cubicBezTo>
                  <a:pt x="60" y="41"/>
                  <a:pt x="62" y="31"/>
                  <a:pt x="65" y="22"/>
                </a:cubicBezTo>
                <a:cubicBezTo>
                  <a:pt x="70" y="7"/>
                  <a:pt x="76" y="0"/>
                  <a:pt x="84" y="0"/>
                </a:cubicBezTo>
                <a:cubicBezTo>
                  <a:pt x="87" y="0"/>
                  <a:pt x="91" y="2"/>
                  <a:pt x="95" y="7"/>
                </a:cubicBezTo>
                <a:cubicBezTo>
                  <a:pt x="99" y="12"/>
                  <a:pt x="101" y="16"/>
                  <a:pt x="101" y="20"/>
                </a:cubicBezTo>
                <a:cubicBezTo>
                  <a:pt x="101" y="22"/>
                  <a:pt x="98" y="24"/>
                  <a:pt x="94" y="24"/>
                </a:cubicBezTo>
                <a:cubicBezTo>
                  <a:pt x="93" y="24"/>
                  <a:pt x="92" y="24"/>
                  <a:pt x="92" y="24"/>
                </a:cubicBezTo>
                <a:cubicBezTo>
                  <a:pt x="90" y="21"/>
                  <a:pt x="87" y="19"/>
                  <a:pt x="84" y="19"/>
                </a:cubicBezTo>
                <a:cubicBezTo>
                  <a:pt x="74" y="19"/>
                  <a:pt x="67" y="31"/>
                  <a:pt x="62" y="55"/>
                </a:cubicBezTo>
                <a:cubicBezTo>
                  <a:pt x="68" y="58"/>
                  <a:pt x="75" y="62"/>
                  <a:pt x="82" y="66"/>
                </a:cubicBezTo>
                <a:cubicBezTo>
                  <a:pt x="90" y="61"/>
                  <a:pt x="98" y="57"/>
                  <a:pt x="105" y="54"/>
                </a:cubicBezTo>
                <a:cubicBezTo>
                  <a:pt x="103" y="48"/>
                  <a:pt x="102" y="44"/>
                  <a:pt x="102" y="41"/>
                </a:cubicBezTo>
                <a:cubicBezTo>
                  <a:pt x="106" y="38"/>
                  <a:pt x="106" y="38"/>
                  <a:pt x="106" y="38"/>
                </a:cubicBezTo>
                <a:cubicBezTo>
                  <a:pt x="107" y="43"/>
                  <a:pt x="108" y="47"/>
                  <a:pt x="109" y="52"/>
                </a:cubicBezTo>
                <a:cubicBezTo>
                  <a:pt x="126" y="45"/>
                  <a:pt x="139" y="41"/>
                  <a:pt x="150" y="41"/>
                </a:cubicBezTo>
                <a:cubicBezTo>
                  <a:pt x="160" y="41"/>
                  <a:pt x="165" y="45"/>
                  <a:pt x="165" y="52"/>
                </a:cubicBezTo>
                <a:cubicBezTo>
                  <a:pt x="165" y="63"/>
                  <a:pt x="153" y="79"/>
                  <a:pt x="130" y="99"/>
                </a:cubicBezTo>
                <a:cubicBezTo>
                  <a:pt x="134" y="102"/>
                  <a:pt x="137" y="105"/>
                  <a:pt x="140" y="108"/>
                </a:cubicBezTo>
                <a:cubicBezTo>
                  <a:pt x="137" y="112"/>
                  <a:pt x="137" y="112"/>
                  <a:pt x="137" y="112"/>
                </a:cubicBezTo>
                <a:cubicBezTo>
                  <a:pt x="133" y="107"/>
                  <a:pt x="129" y="104"/>
                  <a:pt x="127" y="102"/>
                </a:cubicBezTo>
                <a:cubicBezTo>
                  <a:pt x="122" y="106"/>
                  <a:pt x="117" y="110"/>
                  <a:pt x="111" y="114"/>
                </a:cubicBezTo>
                <a:cubicBezTo>
                  <a:pt x="111" y="123"/>
                  <a:pt x="110" y="132"/>
                  <a:pt x="109" y="141"/>
                </a:cubicBezTo>
                <a:cubicBezTo>
                  <a:pt x="119" y="145"/>
                  <a:pt x="127" y="146"/>
                  <a:pt x="134" y="146"/>
                </a:cubicBezTo>
                <a:cubicBezTo>
                  <a:pt x="140" y="146"/>
                  <a:pt x="145" y="145"/>
                  <a:pt x="147" y="141"/>
                </a:cubicBezTo>
                <a:cubicBezTo>
                  <a:pt x="149" y="138"/>
                  <a:pt x="149" y="134"/>
                  <a:pt x="147" y="129"/>
                </a:cubicBezTo>
                <a:cubicBezTo>
                  <a:pt x="149" y="125"/>
                  <a:pt x="151" y="123"/>
                  <a:pt x="152" y="123"/>
                </a:cubicBezTo>
                <a:cubicBezTo>
                  <a:pt x="153" y="123"/>
                  <a:pt x="154" y="123"/>
                  <a:pt x="154" y="124"/>
                </a:cubicBezTo>
                <a:cubicBezTo>
                  <a:pt x="161" y="133"/>
                  <a:pt x="165" y="140"/>
                  <a:pt x="165" y="146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x" type="tx">
  <p:cSld name="tx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6705599" cy="901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36" name="Shape 36"/>
          <p:cNvGrpSpPr/>
          <p:nvPr/>
        </p:nvGrpSpPr>
        <p:grpSpPr>
          <a:xfrm>
            <a:off x="7231463" y="668722"/>
            <a:ext cx="1379137" cy="451430"/>
            <a:chOff x="247173" y="1685724"/>
            <a:chExt cx="7134698" cy="2332975"/>
          </a:xfrm>
        </p:grpSpPr>
        <p:sp>
          <p:nvSpPr>
            <p:cNvPr id="37" name="Shape 37"/>
            <p:cNvSpPr/>
            <p:nvPr/>
          </p:nvSpPr>
          <p:spPr>
            <a:xfrm>
              <a:off x="7066472" y="2271224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38" name="Shape 38"/>
            <p:cNvSpPr/>
            <p:nvPr/>
          </p:nvSpPr>
          <p:spPr>
            <a:xfrm>
              <a:off x="7215872" y="2271224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39" name="Shape 39"/>
            <p:cNvSpPr/>
            <p:nvPr/>
          </p:nvSpPr>
          <p:spPr>
            <a:xfrm>
              <a:off x="7066472" y="2271224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0" name="Shape 40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1" name="Shape 41"/>
            <p:cNvSpPr/>
            <p:nvPr/>
          </p:nvSpPr>
          <p:spPr>
            <a:xfrm>
              <a:off x="4736523" y="2360247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2" name="Shape 42"/>
            <p:cNvSpPr/>
            <p:nvPr/>
          </p:nvSpPr>
          <p:spPr>
            <a:xfrm>
              <a:off x="4623348" y="3374326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3" name="Shape 43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4" name="Shape 44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5" name="Shape 45"/>
            <p:cNvSpPr/>
            <p:nvPr/>
          </p:nvSpPr>
          <p:spPr>
            <a:xfrm>
              <a:off x="3502146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6" name="Shape 46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7" name="Shape 47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8" name="Shape 48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49" name="Shape 49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0" name="Shape 50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1" name="Shape 51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2" name="Shape 52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3" name="Shape 53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4" name="Shape 54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5" name="Shape 55"/>
            <p:cNvSpPr/>
            <p:nvPr/>
          </p:nvSpPr>
          <p:spPr>
            <a:xfrm>
              <a:off x="6343648" y="2328573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56" name="Shape 56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57" name="Shape 57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58" name="Shape 58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9" name="Shape 59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830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 sz="2400"/>
            </a:lvl1pPr>
            <a:lvl2pPr rtl="0">
              <a:defRPr sz="2400"/>
            </a:lvl2pPr>
            <a:lvl3pPr rtl="0">
              <a:defRPr sz="2400"/>
            </a:lvl3pPr>
            <a:lvl4pPr rtl="0">
              <a:defRPr sz="1800"/>
            </a:lvl4pPr>
            <a:lvl5pPr rtl="0">
              <a:defRPr sz="1800"/>
            </a:lvl5pPr>
            <a:lvl6pPr rtl="0">
              <a:defRPr sz="1800"/>
            </a:lvl6pPr>
            <a:lvl7pPr rtl="0">
              <a:defRPr sz="1800"/>
            </a:lvl7pPr>
            <a:lvl8pPr rtl="0">
              <a:defRPr sz="1800"/>
            </a:lvl8pPr>
            <a:lvl9pPr rtl="0"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PCs_Title &amp; Content">
  <p:cSld name="Blue PCs_Title &amp; Content"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Shape 455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456" name="Shape 456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7" name="Shape 457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458" name="Shape 458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9" name="Shape 459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0" name="Shape 460"/>
          <p:cNvSpPr/>
          <p:nvPr/>
        </p:nvSpPr>
        <p:spPr>
          <a:xfrm>
            <a:off x="6527800" y="6400800"/>
            <a:ext cx="1828800" cy="215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" sz="1100" b="0" i="0" u="none" strike="noStrike" cap="none" baseline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echnology</a:t>
            </a:r>
          </a:p>
        </p:txBody>
      </p:sp>
      <p:grpSp>
        <p:nvGrpSpPr>
          <p:cNvPr id="461" name="Shape 461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462" name="Shape 462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463" name="Shape 463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  <p:grpSp>
        <p:nvGrpSpPr>
          <p:cNvPr id="464" name="Shape 464"/>
          <p:cNvGrpSpPr/>
          <p:nvPr/>
        </p:nvGrpSpPr>
        <p:grpSpPr>
          <a:xfrm>
            <a:off x="6956836" y="6400800"/>
            <a:ext cx="535130" cy="195219"/>
            <a:chOff x="927" y="3043"/>
            <a:chExt cx="1165" cy="425"/>
          </a:xfrm>
        </p:grpSpPr>
        <p:sp>
          <p:nvSpPr>
            <p:cNvPr id="465" name="Shape 465"/>
            <p:cNvSpPr/>
            <p:nvPr/>
          </p:nvSpPr>
          <p:spPr>
            <a:xfrm>
              <a:off x="927" y="3043"/>
              <a:ext cx="559" cy="425"/>
            </a:xfrm>
            <a:custGeom>
              <a:avLst/>
              <a:gdLst/>
              <a:ahLst/>
              <a:cxnLst/>
              <a:rect l="0" t="0" r="0" b="0"/>
              <a:pathLst>
                <a:path w="237" h="180" extrusionOk="0">
                  <a:moveTo>
                    <a:pt x="192" y="122"/>
                  </a:moveTo>
                  <a:cubicBezTo>
                    <a:pt x="45" y="122"/>
                    <a:pt x="45" y="122"/>
                    <a:pt x="45" y="122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192" y="19"/>
                    <a:pt x="192" y="19"/>
                    <a:pt x="192" y="19"/>
                  </a:cubicBezTo>
                  <a:lnTo>
                    <a:pt x="192" y="122"/>
                  </a:lnTo>
                  <a:close/>
                  <a:moveTo>
                    <a:pt x="137" y="166"/>
                  </a:moveTo>
                  <a:cubicBezTo>
                    <a:pt x="103" y="166"/>
                    <a:pt x="103" y="166"/>
                    <a:pt x="103" y="166"/>
                  </a:cubicBezTo>
                  <a:cubicBezTo>
                    <a:pt x="98" y="166"/>
                    <a:pt x="94" y="163"/>
                    <a:pt x="94" y="160"/>
                  </a:cubicBezTo>
                  <a:cubicBezTo>
                    <a:pt x="94" y="156"/>
                    <a:pt x="98" y="153"/>
                    <a:pt x="103" y="153"/>
                  </a:cubicBezTo>
                  <a:cubicBezTo>
                    <a:pt x="137" y="153"/>
                    <a:pt x="137" y="153"/>
                    <a:pt x="137" y="153"/>
                  </a:cubicBezTo>
                  <a:cubicBezTo>
                    <a:pt x="142" y="153"/>
                    <a:pt x="146" y="156"/>
                    <a:pt x="146" y="160"/>
                  </a:cubicBezTo>
                  <a:cubicBezTo>
                    <a:pt x="146" y="163"/>
                    <a:pt x="142" y="166"/>
                    <a:pt x="137" y="166"/>
                  </a:cubicBezTo>
                  <a:moveTo>
                    <a:pt x="210" y="126"/>
                  </a:moveTo>
                  <a:cubicBezTo>
                    <a:pt x="210" y="20"/>
                    <a:pt x="210" y="20"/>
                    <a:pt x="210" y="20"/>
                  </a:cubicBezTo>
                  <a:cubicBezTo>
                    <a:pt x="210" y="9"/>
                    <a:pt x="201" y="0"/>
                    <a:pt x="19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5" y="0"/>
                    <a:pt x="26" y="9"/>
                    <a:pt x="26" y="20"/>
                  </a:cubicBezTo>
                  <a:cubicBezTo>
                    <a:pt x="26" y="127"/>
                    <a:pt x="26" y="127"/>
                    <a:pt x="26" y="127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6"/>
                    <a:pt x="4" y="180"/>
                    <a:pt x="9" y="180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33" y="180"/>
                    <a:pt x="237" y="176"/>
                    <a:pt x="237" y="171"/>
                  </a:cubicBezTo>
                  <a:cubicBezTo>
                    <a:pt x="237" y="152"/>
                    <a:pt x="237" y="152"/>
                    <a:pt x="237" y="152"/>
                  </a:cubicBezTo>
                  <a:lnTo>
                    <a:pt x="210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66" name="Shape 466"/>
            <p:cNvSpPr/>
            <p:nvPr/>
          </p:nvSpPr>
          <p:spPr>
            <a:xfrm>
              <a:off x="1535" y="3043"/>
              <a:ext cx="557" cy="425"/>
            </a:xfrm>
            <a:custGeom>
              <a:avLst/>
              <a:gdLst/>
              <a:ahLst/>
              <a:cxnLst/>
              <a:rect l="0" t="0" r="0" b="0"/>
              <a:pathLst>
                <a:path w="236" h="180" extrusionOk="0">
                  <a:moveTo>
                    <a:pt x="192" y="122"/>
                  </a:moveTo>
                  <a:cubicBezTo>
                    <a:pt x="44" y="122"/>
                    <a:pt x="44" y="122"/>
                    <a:pt x="44" y="122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192" y="19"/>
                    <a:pt x="192" y="19"/>
                    <a:pt x="192" y="19"/>
                  </a:cubicBezTo>
                  <a:lnTo>
                    <a:pt x="192" y="122"/>
                  </a:lnTo>
                  <a:close/>
                  <a:moveTo>
                    <a:pt x="136" y="166"/>
                  </a:moveTo>
                  <a:cubicBezTo>
                    <a:pt x="103" y="166"/>
                    <a:pt x="103" y="166"/>
                    <a:pt x="103" y="166"/>
                  </a:cubicBezTo>
                  <a:cubicBezTo>
                    <a:pt x="98" y="166"/>
                    <a:pt x="94" y="163"/>
                    <a:pt x="94" y="160"/>
                  </a:cubicBezTo>
                  <a:cubicBezTo>
                    <a:pt x="94" y="156"/>
                    <a:pt x="98" y="153"/>
                    <a:pt x="103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41" y="153"/>
                    <a:pt x="145" y="156"/>
                    <a:pt x="145" y="160"/>
                  </a:cubicBezTo>
                  <a:cubicBezTo>
                    <a:pt x="145" y="163"/>
                    <a:pt x="141" y="166"/>
                    <a:pt x="136" y="166"/>
                  </a:cubicBezTo>
                  <a:moveTo>
                    <a:pt x="209" y="126"/>
                  </a:moveTo>
                  <a:cubicBezTo>
                    <a:pt x="209" y="20"/>
                    <a:pt x="209" y="20"/>
                    <a:pt x="209" y="20"/>
                  </a:cubicBezTo>
                  <a:cubicBezTo>
                    <a:pt x="209" y="9"/>
                    <a:pt x="200" y="0"/>
                    <a:pt x="189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4" y="0"/>
                    <a:pt x="25" y="9"/>
                    <a:pt x="25" y="20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6"/>
                    <a:pt x="4" y="180"/>
                    <a:pt x="9" y="180"/>
                  </a:cubicBezTo>
                  <a:cubicBezTo>
                    <a:pt x="227" y="180"/>
                    <a:pt x="227" y="180"/>
                    <a:pt x="227" y="180"/>
                  </a:cubicBezTo>
                  <a:cubicBezTo>
                    <a:pt x="232" y="180"/>
                    <a:pt x="236" y="176"/>
                    <a:pt x="236" y="171"/>
                  </a:cubicBezTo>
                  <a:cubicBezTo>
                    <a:pt x="236" y="152"/>
                    <a:pt x="236" y="152"/>
                    <a:pt x="236" y="152"/>
                  </a:cubicBezTo>
                  <a:lnTo>
                    <a:pt x="209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467" name="Shape 467"/>
          <p:cNvSpPr/>
          <p:nvPr/>
        </p:nvSpPr>
        <p:spPr>
          <a:xfrm>
            <a:off x="8376152" y="6149130"/>
            <a:ext cx="772323" cy="477961"/>
          </a:xfrm>
          <a:custGeom>
            <a:avLst/>
            <a:gdLst/>
            <a:ahLst/>
            <a:cxnLst/>
            <a:rect l="0" t="0" r="0" b="0"/>
            <a:pathLst>
              <a:path w="543" h="336" extrusionOk="0">
                <a:moveTo>
                  <a:pt x="534" y="292"/>
                </a:moveTo>
                <a:cubicBezTo>
                  <a:pt x="536" y="292"/>
                  <a:pt x="536" y="292"/>
                  <a:pt x="536" y="292"/>
                </a:cubicBezTo>
                <a:cubicBezTo>
                  <a:pt x="536" y="285"/>
                  <a:pt x="536" y="285"/>
                  <a:pt x="536" y="285"/>
                </a:cubicBezTo>
                <a:cubicBezTo>
                  <a:pt x="534" y="285"/>
                  <a:pt x="534" y="285"/>
                  <a:pt x="534" y="285"/>
                </a:cubicBezTo>
                <a:lnTo>
                  <a:pt x="534" y="292"/>
                </a:lnTo>
                <a:close/>
                <a:moveTo>
                  <a:pt x="534" y="268"/>
                </a:moveTo>
                <a:cubicBezTo>
                  <a:pt x="536" y="268"/>
                  <a:pt x="536" y="268"/>
                  <a:pt x="536" y="268"/>
                </a:cubicBezTo>
                <a:cubicBezTo>
                  <a:pt x="536" y="261"/>
                  <a:pt x="536" y="261"/>
                  <a:pt x="536" y="261"/>
                </a:cubicBezTo>
                <a:cubicBezTo>
                  <a:pt x="534" y="261"/>
                  <a:pt x="534" y="261"/>
                  <a:pt x="534" y="261"/>
                </a:cubicBezTo>
                <a:lnTo>
                  <a:pt x="534" y="268"/>
                </a:lnTo>
                <a:close/>
                <a:moveTo>
                  <a:pt x="534" y="219"/>
                </a:moveTo>
                <a:cubicBezTo>
                  <a:pt x="536" y="219"/>
                  <a:pt x="536" y="219"/>
                  <a:pt x="536" y="219"/>
                </a:cubicBezTo>
                <a:cubicBezTo>
                  <a:pt x="536" y="210"/>
                  <a:pt x="536" y="210"/>
                  <a:pt x="536" y="210"/>
                </a:cubicBezTo>
                <a:cubicBezTo>
                  <a:pt x="534" y="210"/>
                  <a:pt x="534" y="210"/>
                  <a:pt x="534" y="210"/>
                </a:cubicBezTo>
                <a:lnTo>
                  <a:pt x="534" y="219"/>
                </a:lnTo>
                <a:close/>
                <a:moveTo>
                  <a:pt x="534" y="168"/>
                </a:moveTo>
                <a:cubicBezTo>
                  <a:pt x="536" y="168"/>
                  <a:pt x="536" y="168"/>
                  <a:pt x="536" y="168"/>
                </a:cubicBezTo>
                <a:cubicBezTo>
                  <a:pt x="536" y="159"/>
                  <a:pt x="536" y="159"/>
                  <a:pt x="536" y="159"/>
                </a:cubicBezTo>
                <a:cubicBezTo>
                  <a:pt x="534" y="159"/>
                  <a:pt x="534" y="159"/>
                  <a:pt x="534" y="159"/>
                </a:cubicBezTo>
                <a:lnTo>
                  <a:pt x="534" y="168"/>
                </a:lnTo>
                <a:close/>
                <a:moveTo>
                  <a:pt x="534" y="144"/>
                </a:moveTo>
                <a:cubicBezTo>
                  <a:pt x="536" y="144"/>
                  <a:pt x="536" y="144"/>
                  <a:pt x="536" y="144"/>
                </a:cubicBezTo>
                <a:cubicBezTo>
                  <a:pt x="536" y="135"/>
                  <a:pt x="536" y="135"/>
                  <a:pt x="536" y="135"/>
                </a:cubicBezTo>
                <a:cubicBezTo>
                  <a:pt x="534" y="135"/>
                  <a:pt x="534" y="135"/>
                  <a:pt x="534" y="135"/>
                </a:cubicBezTo>
                <a:lnTo>
                  <a:pt x="534" y="144"/>
                </a:lnTo>
                <a:close/>
                <a:moveTo>
                  <a:pt x="534" y="120"/>
                </a:moveTo>
                <a:cubicBezTo>
                  <a:pt x="536" y="120"/>
                  <a:pt x="536" y="120"/>
                  <a:pt x="536" y="120"/>
                </a:cubicBezTo>
                <a:cubicBezTo>
                  <a:pt x="536" y="113"/>
                  <a:pt x="536" y="113"/>
                  <a:pt x="536" y="113"/>
                </a:cubicBezTo>
                <a:cubicBezTo>
                  <a:pt x="534" y="113"/>
                  <a:pt x="534" y="113"/>
                  <a:pt x="534" y="113"/>
                </a:cubicBezTo>
                <a:lnTo>
                  <a:pt x="534" y="120"/>
                </a:lnTo>
                <a:close/>
                <a:moveTo>
                  <a:pt x="534" y="97"/>
                </a:moveTo>
                <a:cubicBezTo>
                  <a:pt x="536" y="97"/>
                  <a:pt x="536" y="97"/>
                  <a:pt x="536" y="97"/>
                </a:cubicBezTo>
                <a:cubicBezTo>
                  <a:pt x="536" y="89"/>
                  <a:pt x="536" y="89"/>
                  <a:pt x="536" y="89"/>
                </a:cubicBezTo>
                <a:cubicBezTo>
                  <a:pt x="534" y="89"/>
                  <a:pt x="534" y="89"/>
                  <a:pt x="534" y="89"/>
                </a:cubicBezTo>
                <a:lnTo>
                  <a:pt x="534" y="97"/>
                </a:lnTo>
                <a:close/>
                <a:moveTo>
                  <a:pt x="534" y="51"/>
                </a:moveTo>
                <a:cubicBezTo>
                  <a:pt x="536" y="51"/>
                  <a:pt x="536" y="51"/>
                  <a:pt x="536" y="51"/>
                </a:cubicBezTo>
                <a:cubicBezTo>
                  <a:pt x="536" y="42"/>
                  <a:pt x="536" y="42"/>
                  <a:pt x="536" y="42"/>
                </a:cubicBezTo>
                <a:cubicBezTo>
                  <a:pt x="534" y="42"/>
                  <a:pt x="534" y="42"/>
                  <a:pt x="534" y="42"/>
                </a:cubicBezTo>
                <a:lnTo>
                  <a:pt x="534" y="51"/>
                </a:lnTo>
                <a:close/>
                <a:moveTo>
                  <a:pt x="516" y="292"/>
                </a:moveTo>
                <a:cubicBezTo>
                  <a:pt x="521" y="292"/>
                  <a:pt x="521" y="292"/>
                  <a:pt x="521" y="292"/>
                </a:cubicBezTo>
                <a:cubicBezTo>
                  <a:pt x="521" y="285"/>
                  <a:pt x="521" y="285"/>
                  <a:pt x="521" y="285"/>
                </a:cubicBezTo>
                <a:cubicBezTo>
                  <a:pt x="516" y="285"/>
                  <a:pt x="516" y="285"/>
                  <a:pt x="516" y="285"/>
                </a:cubicBezTo>
                <a:lnTo>
                  <a:pt x="516" y="292"/>
                </a:lnTo>
                <a:close/>
                <a:moveTo>
                  <a:pt x="516" y="243"/>
                </a:moveTo>
                <a:cubicBezTo>
                  <a:pt x="521" y="243"/>
                  <a:pt x="521" y="243"/>
                  <a:pt x="521" y="243"/>
                </a:cubicBezTo>
                <a:cubicBezTo>
                  <a:pt x="521" y="236"/>
                  <a:pt x="521" y="236"/>
                  <a:pt x="521" y="236"/>
                </a:cubicBezTo>
                <a:cubicBezTo>
                  <a:pt x="516" y="236"/>
                  <a:pt x="516" y="236"/>
                  <a:pt x="516" y="236"/>
                </a:cubicBezTo>
                <a:lnTo>
                  <a:pt x="516" y="243"/>
                </a:lnTo>
                <a:close/>
                <a:moveTo>
                  <a:pt x="516" y="192"/>
                </a:moveTo>
                <a:cubicBezTo>
                  <a:pt x="521" y="192"/>
                  <a:pt x="521" y="192"/>
                  <a:pt x="521" y="192"/>
                </a:cubicBezTo>
                <a:cubicBezTo>
                  <a:pt x="521" y="186"/>
                  <a:pt x="521" y="186"/>
                  <a:pt x="521" y="186"/>
                </a:cubicBezTo>
                <a:cubicBezTo>
                  <a:pt x="516" y="186"/>
                  <a:pt x="516" y="186"/>
                  <a:pt x="516" y="186"/>
                </a:cubicBezTo>
                <a:lnTo>
                  <a:pt x="516" y="192"/>
                </a:lnTo>
                <a:close/>
                <a:moveTo>
                  <a:pt x="516" y="168"/>
                </a:moveTo>
                <a:cubicBezTo>
                  <a:pt x="521" y="168"/>
                  <a:pt x="521" y="168"/>
                  <a:pt x="521" y="168"/>
                </a:cubicBezTo>
                <a:cubicBezTo>
                  <a:pt x="521" y="159"/>
                  <a:pt x="521" y="159"/>
                  <a:pt x="521" y="159"/>
                </a:cubicBezTo>
                <a:cubicBezTo>
                  <a:pt x="516" y="159"/>
                  <a:pt x="516" y="159"/>
                  <a:pt x="516" y="159"/>
                </a:cubicBezTo>
                <a:lnTo>
                  <a:pt x="516" y="168"/>
                </a:lnTo>
                <a:close/>
                <a:moveTo>
                  <a:pt x="516" y="144"/>
                </a:moveTo>
                <a:cubicBezTo>
                  <a:pt x="521" y="144"/>
                  <a:pt x="521" y="144"/>
                  <a:pt x="521" y="144"/>
                </a:cubicBezTo>
                <a:cubicBezTo>
                  <a:pt x="521" y="135"/>
                  <a:pt x="521" y="135"/>
                  <a:pt x="521" y="135"/>
                </a:cubicBezTo>
                <a:cubicBezTo>
                  <a:pt x="516" y="135"/>
                  <a:pt x="516" y="135"/>
                  <a:pt x="516" y="135"/>
                </a:cubicBezTo>
                <a:lnTo>
                  <a:pt x="516" y="144"/>
                </a:lnTo>
                <a:close/>
                <a:moveTo>
                  <a:pt x="516" y="120"/>
                </a:moveTo>
                <a:cubicBezTo>
                  <a:pt x="521" y="120"/>
                  <a:pt x="521" y="120"/>
                  <a:pt x="521" y="120"/>
                </a:cubicBezTo>
                <a:cubicBezTo>
                  <a:pt x="521" y="113"/>
                  <a:pt x="521" y="113"/>
                  <a:pt x="521" y="113"/>
                </a:cubicBezTo>
                <a:cubicBezTo>
                  <a:pt x="516" y="113"/>
                  <a:pt x="516" y="113"/>
                  <a:pt x="516" y="113"/>
                </a:cubicBezTo>
                <a:lnTo>
                  <a:pt x="516" y="120"/>
                </a:lnTo>
                <a:close/>
                <a:moveTo>
                  <a:pt x="516" y="97"/>
                </a:moveTo>
                <a:cubicBezTo>
                  <a:pt x="521" y="97"/>
                  <a:pt x="521" y="97"/>
                  <a:pt x="521" y="97"/>
                </a:cubicBezTo>
                <a:cubicBezTo>
                  <a:pt x="521" y="89"/>
                  <a:pt x="521" y="89"/>
                  <a:pt x="521" y="89"/>
                </a:cubicBezTo>
                <a:cubicBezTo>
                  <a:pt x="516" y="89"/>
                  <a:pt x="516" y="89"/>
                  <a:pt x="516" y="89"/>
                </a:cubicBezTo>
                <a:lnTo>
                  <a:pt x="516" y="97"/>
                </a:lnTo>
                <a:close/>
                <a:moveTo>
                  <a:pt x="516" y="73"/>
                </a:moveTo>
                <a:cubicBezTo>
                  <a:pt x="521" y="73"/>
                  <a:pt x="521" y="73"/>
                  <a:pt x="521" y="73"/>
                </a:cubicBezTo>
                <a:cubicBezTo>
                  <a:pt x="521" y="67"/>
                  <a:pt x="521" y="67"/>
                  <a:pt x="521" y="67"/>
                </a:cubicBezTo>
                <a:cubicBezTo>
                  <a:pt x="516" y="67"/>
                  <a:pt x="516" y="67"/>
                  <a:pt x="516" y="67"/>
                </a:cubicBezTo>
                <a:lnTo>
                  <a:pt x="516" y="73"/>
                </a:lnTo>
                <a:close/>
                <a:moveTo>
                  <a:pt x="499" y="292"/>
                </a:moveTo>
                <a:cubicBezTo>
                  <a:pt x="503" y="292"/>
                  <a:pt x="503" y="292"/>
                  <a:pt x="503" y="292"/>
                </a:cubicBezTo>
                <a:cubicBezTo>
                  <a:pt x="503" y="285"/>
                  <a:pt x="503" y="285"/>
                  <a:pt x="503" y="285"/>
                </a:cubicBezTo>
                <a:cubicBezTo>
                  <a:pt x="499" y="285"/>
                  <a:pt x="499" y="285"/>
                  <a:pt x="499" y="285"/>
                </a:cubicBezTo>
                <a:lnTo>
                  <a:pt x="499" y="292"/>
                </a:lnTo>
                <a:close/>
                <a:moveTo>
                  <a:pt x="499" y="268"/>
                </a:moveTo>
                <a:cubicBezTo>
                  <a:pt x="503" y="268"/>
                  <a:pt x="503" y="268"/>
                  <a:pt x="503" y="268"/>
                </a:cubicBezTo>
                <a:cubicBezTo>
                  <a:pt x="503" y="261"/>
                  <a:pt x="503" y="261"/>
                  <a:pt x="503" y="261"/>
                </a:cubicBezTo>
                <a:cubicBezTo>
                  <a:pt x="499" y="261"/>
                  <a:pt x="499" y="261"/>
                  <a:pt x="499" y="261"/>
                </a:cubicBezTo>
                <a:lnTo>
                  <a:pt x="499" y="268"/>
                </a:lnTo>
                <a:close/>
                <a:moveTo>
                  <a:pt x="499" y="243"/>
                </a:moveTo>
                <a:cubicBezTo>
                  <a:pt x="503" y="243"/>
                  <a:pt x="503" y="243"/>
                  <a:pt x="503" y="243"/>
                </a:cubicBezTo>
                <a:cubicBezTo>
                  <a:pt x="503" y="236"/>
                  <a:pt x="503" y="236"/>
                  <a:pt x="503" y="236"/>
                </a:cubicBezTo>
                <a:cubicBezTo>
                  <a:pt x="499" y="236"/>
                  <a:pt x="499" y="236"/>
                  <a:pt x="499" y="236"/>
                </a:cubicBezTo>
                <a:lnTo>
                  <a:pt x="499" y="243"/>
                </a:lnTo>
                <a:close/>
                <a:moveTo>
                  <a:pt x="499" y="219"/>
                </a:moveTo>
                <a:cubicBezTo>
                  <a:pt x="503" y="219"/>
                  <a:pt x="503" y="219"/>
                  <a:pt x="503" y="219"/>
                </a:cubicBezTo>
                <a:cubicBezTo>
                  <a:pt x="503" y="210"/>
                  <a:pt x="503" y="210"/>
                  <a:pt x="503" y="210"/>
                </a:cubicBezTo>
                <a:cubicBezTo>
                  <a:pt x="499" y="210"/>
                  <a:pt x="499" y="210"/>
                  <a:pt x="499" y="210"/>
                </a:cubicBezTo>
                <a:lnTo>
                  <a:pt x="499" y="219"/>
                </a:lnTo>
                <a:close/>
                <a:moveTo>
                  <a:pt x="499" y="192"/>
                </a:moveTo>
                <a:cubicBezTo>
                  <a:pt x="503" y="192"/>
                  <a:pt x="503" y="192"/>
                  <a:pt x="503" y="192"/>
                </a:cubicBezTo>
                <a:cubicBezTo>
                  <a:pt x="503" y="186"/>
                  <a:pt x="503" y="186"/>
                  <a:pt x="503" y="186"/>
                </a:cubicBezTo>
                <a:cubicBezTo>
                  <a:pt x="499" y="186"/>
                  <a:pt x="499" y="186"/>
                  <a:pt x="499" y="186"/>
                </a:cubicBezTo>
                <a:lnTo>
                  <a:pt x="499" y="192"/>
                </a:lnTo>
                <a:close/>
                <a:moveTo>
                  <a:pt x="499" y="144"/>
                </a:moveTo>
                <a:cubicBezTo>
                  <a:pt x="503" y="144"/>
                  <a:pt x="503" y="144"/>
                  <a:pt x="503" y="144"/>
                </a:cubicBezTo>
                <a:cubicBezTo>
                  <a:pt x="503" y="135"/>
                  <a:pt x="503" y="135"/>
                  <a:pt x="503" y="135"/>
                </a:cubicBezTo>
                <a:cubicBezTo>
                  <a:pt x="499" y="135"/>
                  <a:pt x="499" y="135"/>
                  <a:pt x="499" y="135"/>
                </a:cubicBezTo>
                <a:lnTo>
                  <a:pt x="499" y="144"/>
                </a:lnTo>
                <a:close/>
                <a:moveTo>
                  <a:pt x="448" y="305"/>
                </a:moveTo>
                <a:cubicBezTo>
                  <a:pt x="452" y="305"/>
                  <a:pt x="452" y="305"/>
                  <a:pt x="452" y="305"/>
                </a:cubicBezTo>
                <a:cubicBezTo>
                  <a:pt x="452" y="298"/>
                  <a:pt x="452" y="298"/>
                  <a:pt x="452" y="298"/>
                </a:cubicBezTo>
                <a:cubicBezTo>
                  <a:pt x="448" y="298"/>
                  <a:pt x="448" y="298"/>
                  <a:pt x="448" y="298"/>
                </a:cubicBezTo>
                <a:lnTo>
                  <a:pt x="448" y="305"/>
                </a:lnTo>
                <a:close/>
                <a:moveTo>
                  <a:pt x="448" y="281"/>
                </a:moveTo>
                <a:cubicBezTo>
                  <a:pt x="452" y="281"/>
                  <a:pt x="452" y="281"/>
                  <a:pt x="452" y="281"/>
                </a:cubicBezTo>
                <a:cubicBezTo>
                  <a:pt x="452" y="274"/>
                  <a:pt x="452" y="274"/>
                  <a:pt x="452" y="274"/>
                </a:cubicBezTo>
                <a:cubicBezTo>
                  <a:pt x="448" y="274"/>
                  <a:pt x="448" y="274"/>
                  <a:pt x="448" y="274"/>
                </a:cubicBezTo>
                <a:lnTo>
                  <a:pt x="448" y="281"/>
                </a:lnTo>
                <a:close/>
                <a:moveTo>
                  <a:pt x="448" y="257"/>
                </a:moveTo>
                <a:cubicBezTo>
                  <a:pt x="452" y="257"/>
                  <a:pt x="452" y="257"/>
                  <a:pt x="452" y="257"/>
                </a:cubicBezTo>
                <a:cubicBezTo>
                  <a:pt x="452" y="250"/>
                  <a:pt x="452" y="250"/>
                  <a:pt x="452" y="250"/>
                </a:cubicBezTo>
                <a:cubicBezTo>
                  <a:pt x="448" y="250"/>
                  <a:pt x="448" y="250"/>
                  <a:pt x="448" y="250"/>
                </a:cubicBezTo>
                <a:lnTo>
                  <a:pt x="448" y="257"/>
                </a:lnTo>
                <a:close/>
                <a:moveTo>
                  <a:pt x="448" y="232"/>
                </a:moveTo>
                <a:cubicBezTo>
                  <a:pt x="452" y="232"/>
                  <a:pt x="452" y="232"/>
                  <a:pt x="452" y="232"/>
                </a:cubicBezTo>
                <a:cubicBezTo>
                  <a:pt x="452" y="223"/>
                  <a:pt x="452" y="223"/>
                  <a:pt x="452" y="223"/>
                </a:cubicBezTo>
                <a:cubicBezTo>
                  <a:pt x="448" y="223"/>
                  <a:pt x="448" y="223"/>
                  <a:pt x="448" y="223"/>
                </a:cubicBezTo>
                <a:lnTo>
                  <a:pt x="448" y="232"/>
                </a:lnTo>
                <a:close/>
                <a:moveTo>
                  <a:pt x="448" y="206"/>
                </a:moveTo>
                <a:cubicBezTo>
                  <a:pt x="452" y="206"/>
                  <a:pt x="452" y="206"/>
                  <a:pt x="452" y="206"/>
                </a:cubicBezTo>
                <a:cubicBezTo>
                  <a:pt x="452" y="199"/>
                  <a:pt x="452" y="199"/>
                  <a:pt x="452" y="199"/>
                </a:cubicBezTo>
                <a:cubicBezTo>
                  <a:pt x="448" y="199"/>
                  <a:pt x="448" y="199"/>
                  <a:pt x="448" y="199"/>
                </a:cubicBezTo>
                <a:lnTo>
                  <a:pt x="448" y="206"/>
                </a:lnTo>
                <a:close/>
                <a:moveTo>
                  <a:pt x="448" y="181"/>
                </a:moveTo>
                <a:cubicBezTo>
                  <a:pt x="452" y="181"/>
                  <a:pt x="452" y="181"/>
                  <a:pt x="452" y="181"/>
                </a:cubicBezTo>
                <a:cubicBezTo>
                  <a:pt x="452" y="175"/>
                  <a:pt x="452" y="175"/>
                  <a:pt x="452" y="175"/>
                </a:cubicBezTo>
                <a:cubicBezTo>
                  <a:pt x="448" y="175"/>
                  <a:pt x="448" y="175"/>
                  <a:pt x="448" y="175"/>
                </a:cubicBezTo>
                <a:lnTo>
                  <a:pt x="448" y="181"/>
                </a:lnTo>
                <a:close/>
                <a:moveTo>
                  <a:pt x="432" y="281"/>
                </a:moveTo>
                <a:cubicBezTo>
                  <a:pt x="437" y="281"/>
                  <a:pt x="437" y="281"/>
                  <a:pt x="437" y="281"/>
                </a:cubicBezTo>
                <a:cubicBezTo>
                  <a:pt x="437" y="274"/>
                  <a:pt x="437" y="274"/>
                  <a:pt x="437" y="274"/>
                </a:cubicBezTo>
                <a:cubicBezTo>
                  <a:pt x="432" y="274"/>
                  <a:pt x="432" y="274"/>
                  <a:pt x="432" y="274"/>
                </a:cubicBezTo>
                <a:lnTo>
                  <a:pt x="432" y="281"/>
                </a:lnTo>
                <a:close/>
                <a:moveTo>
                  <a:pt x="432" y="257"/>
                </a:moveTo>
                <a:cubicBezTo>
                  <a:pt x="437" y="257"/>
                  <a:pt x="437" y="257"/>
                  <a:pt x="437" y="257"/>
                </a:cubicBezTo>
                <a:cubicBezTo>
                  <a:pt x="437" y="250"/>
                  <a:pt x="437" y="250"/>
                  <a:pt x="437" y="250"/>
                </a:cubicBezTo>
                <a:cubicBezTo>
                  <a:pt x="432" y="250"/>
                  <a:pt x="432" y="250"/>
                  <a:pt x="432" y="250"/>
                </a:cubicBezTo>
                <a:lnTo>
                  <a:pt x="432" y="257"/>
                </a:lnTo>
                <a:close/>
                <a:moveTo>
                  <a:pt x="432" y="232"/>
                </a:moveTo>
                <a:cubicBezTo>
                  <a:pt x="437" y="232"/>
                  <a:pt x="437" y="232"/>
                  <a:pt x="437" y="232"/>
                </a:cubicBezTo>
                <a:cubicBezTo>
                  <a:pt x="437" y="223"/>
                  <a:pt x="437" y="223"/>
                  <a:pt x="437" y="223"/>
                </a:cubicBezTo>
                <a:cubicBezTo>
                  <a:pt x="432" y="223"/>
                  <a:pt x="432" y="223"/>
                  <a:pt x="432" y="223"/>
                </a:cubicBezTo>
                <a:lnTo>
                  <a:pt x="432" y="232"/>
                </a:lnTo>
                <a:close/>
                <a:moveTo>
                  <a:pt x="432" y="181"/>
                </a:moveTo>
                <a:cubicBezTo>
                  <a:pt x="437" y="181"/>
                  <a:pt x="437" y="181"/>
                  <a:pt x="437" y="181"/>
                </a:cubicBezTo>
                <a:cubicBezTo>
                  <a:pt x="437" y="175"/>
                  <a:pt x="437" y="175"/>
                  <a:pt x="437" y="175"/>
                </a:cubicBezTo>
                <a:cubicBezTo>
                  <a:pt x="432" y="175"/>
                  <a:pt x="432" y="175"/>
                  <a:pt x="432" y="175"/>
                </a:cubicBezTo>
                <a:lnTo>
                  <a:pt x="432" y="181"/>
                </a:lnTo>
                <a:close/>
                <a:moveTo>
                  <a:pt x="415" y="305"/>
                </a:moveTo>
                <a:cubicBezTo>
                  <a:pt x="419" y="305"/>
                  <a:pt x="419" y="305"/>
                  <a:pt x="419" y="305"/>
                </a:cubicBezTo>
                <a:cubicBezTo>
                  <a:pt x="419" y="298"/>
                  <a:pt x="419" y="298"/>
                  <a:pt x="419" y="298"/>
                </a:cubicBezTo>
                <a:cubicBezTo>
                  <a:pt x="415" y="298"/>
                  <a:pt x="415" y="298"/>
                  <a:pt x="415" y="298"/>
                </a:cubicBezTo>
                <a:lnTo>
                  <a:pt x="415" y="305"/>
                </a:lnTo>
                <a:close/>
                <a:moveTo>
                  <a:pt x="415" y="281"/>
                </a:moveTo>
                <a:cubicBezTo>
                  <a:pt x="419" y="281"/>
                  <a:pt x="419" y="281"/>
                  <a:pt x="419" y="281"/>
                </a:cubicBezTo>
                <a:cubicBezTo>
                  <a:pt x="419" y="274"/>
                  <a:pt x="419" y="274"/>
                  <a:pt x="419" y="274"/>
                </a:cubicBezTo>
                <a:cubicBezTo>
                  <a:pt x="415" y="274"/>
                  <a:pt x="415" y="274"/>
                  <a:pt x="415" y="274"/>
                </a:cubicBezTo>
                <a:lnTo>
                  <a:pt x="415" y="281"/>
                </a:lnTo>
                <a:close/>
                <a:moveTo>
                  <a:pt x="415" y="257"/>
                </a:moveTo>
                <a:cubicBezTo>
                  <a:pt x="419" y="257"/>
                  <a:pt x="419" y="257"/>
                  <a:pt x="419" y="257"/>
                </a:cubicBezTo>
                <a:cubicBezTo>
                  <a:pt x="419" y="250"/>
                  <a:pt x="419" y="250"/>
                  <a:pt x="419" y="250"/>
                </a:cubicBezTo>
                <a:cubicBezTo>
                  <a:pt x="415" y="250"/>
                  <a:pt x="415" y="250"/>
                  <a:pt x="415" y="250"/>
                </a:cubicBezTo>
                <a:lnTo>
                  <a:pt x="415" y="257"/>
                </a:lnTo>
                <a:close/>
                <a:moveTo>
                  <a:pt x="415" y="206"/>
                </a:moveTo>
                <a:cubicBezTo>
                  <a:pt x="419" y="206"/>
                  <a:pt x="419" y="206"/>
                  <a:pt x="419" y="206"/>
                </a:cubicBezTo>
                <a:cubicBezTo>
                  <a:pt x="419" y="199"/>
                  <a:pt x="419" y="199"/>
                  <a:pt x="419" y="199"/>
                </a:cubicBezTo>
                <a:cubicBezTo>
                  <a:pt x="415" y="199"/>
                  <a:pt x="415" y="199"/>
                  <a:pt x="415" y="199"/>
                </a:cubicBezTo>
                <a:lnTo>
                  <a:pt x="415" y="206"/>
                </a:lnTo>
                <a:close/>
                <a:moveTo>
                  <a:pt x="415" y="181"/>
                </a:moveTo>
                <a:cubicBezTo>
                  <a:pt x="419" y="181"/>
                  <a:pt x="419" y="181"/>
                  <a:pt x="419" y="181"/>
                </a:cubicBezTo>
                <a:cubicBezTo>
                  <a:pt x="419" y="175"/>
                  <a:pt x="419" y="175"/>
                  <a:pt x="419" y="175"/>
                </a:cubicBezTo>
                <a:cubicBezTo>
                  <a:pt x="415" y="175"/>
                  <a:pt x="415" y="175"/>
                  <a:pt x="415" y="175"/>
                </a:cubicBezTo>
                <a:lnTo>
                  <a:pt x="415" y="181"/>
                </a:lnTo>
                <a:close/>
                <a:moveTo>
                  <a:pt x="415" y="157"/>
                </a:moveTo>
                <a:cubicBezTo>
                  <a:pt x="419" y="157"/>
                  <a:pt x="419" y="157"/>
                  <a:pt x="419" y="157"/>
                </a:cubicBezTo>
                <a:cubicBezTo>
                  <a:pt x="419" y="150"/>
                  <a:pt x="419" y="150"/>
                  <a:pt x="419" y="150"/>
                </a:cubicBezTo>
                <a:cubicBezTo>
                  <a:pt x="415" y="150"/>
                  <a:pt x="415" y="150"/>
                  <a:pt x="415" y="150"/>
                </a:cubicBezTo>
                <a:lnTo>
                  <a:pt x="415" y="157"/>
                </a:lnTo>
                <a:close/>
                <a:moveTo>
                  <a:pt x="415" y="133"/>
                </a:moveTo>
                <a:cubicBezTo>
                  <a:pt x="419" y="133"/>
                  <a:pt x="419" y="133"/>
                  <a:pt x="419" y="133"/>
                </a:cubicBezTo>
                <a:cubicBezTo>
                  <a:pt x="419" y="126"/>
                  <a:pt x="419" y="126"/>
                  <a:pt x="419" y="126"/>
                </a:cubicBezTo>
                <a:cubicBezTo>
                  <a:pt x="415" y="126"/>
                  <a:pt x="415" y="126"/>
                  <a:pt x="415" y="126"/>
                </a:cubicBezTo>
                <a:lnTo>
                  <a:pt x="415" y="133"/>
                </a:lnTo>
                <a:close/>
                <a:moveTo>
                  <a:pt x="415" y="109"/>
                </a:moveTo>
                <a:cubicBezTo>
                  <a:pt x="419" y="109"/>
                  <a:pt x="419" y="109"/>
                  <a:pt x="419" y="109"/>
                </a:cubicBezTo>
                <a:cubicBezTo>
                  <a:pt x="419" y="100"/>
                  <a:pt x="419" y="100"/>
                  <a:pt x="419" y="100"/>
                </a:cubicBezTo>
                <a:cubicBezTo>
                  <a:pt x="415" y="100"/>
                  <a:pt x="415" y="100"/>
                  <a:pt x="415" y="100"/>
                </a:cubicBezTo>
                <a:lnTo>
                  <a:pt x="415" y="109"/>
                </a:lnTo>
                <a:close/>
                <a:moveTo>
                  <a:pt x="401" y="305"/>
                </a:moveTo>
                <a:cubicBezTo>
                  <a:pt x="404" y="305"/>
                  <a:pt x="404" y="305"/>
                  <a:pt x="404" y="305"/>
                </a:cubicBezTo>
                <a:cubicBezTo>
                  <a:pt x="404" y="298"/>
                  <a:pt x="404" y="298"/>
                  <a:pt x="404" y="298"/>
                </a:cubicBezTo>
                <a:cubicBezTo>
                  <a:pt x="401" y="298"/>
                  <a:pt x="401" y="298"/>
                  <a:pt x="401" y="298"/>
                </a:cubicBezTo>
                <a:lnTo>
                  <a:pt x="401" y="305"/>
                </a:lnTo>
                <a:close/>
                <a:moveTo>
                  <a:pt x="401" y="257"/>
                </a:moveTo>
                <a:cubicBezTo>
                  <a:pt x="404" y="257"/>
                  <a:pt x="404" y="257"/>
                  <a:pt x="404" y="257"/>
                </a:cubicBezTo>
                <a:cubicBezTo>
                  <a:pt x="404" y="250"/>
                  <a:pt x="404" y="250"/>
                  <a:pt x="404" y="250"/>
                </a:cubicBezTo>
                <a:cubicBezTo>
                  <a:pt x="401" y="250"/>
                  <a:pt x="401" y="250"/>
                  <a:pt x="401" y="250"/>
                </a:cubicBezTo>
                <a:lnTo>
                  <a:pt x="401" y="257"/>
                </a:lnTo>
                <a:close/>
                <a:moveTo>
                  <a:pt x="401" y="232"/>
                </a:moveTo>
                <a:cubicBezTo>
                  <a:pt x="404" y="232"/>
                  <a:pt x="404" y="232"/>
                  <a:pt x="404" y="232"/>
                </a:cubicBezTo>
                <a:cubicBezTo>
                  <a:pt x="404" y="223"/>
                  <a:pt x="404" y="223"/>
                  <a:pt x="404" y="223"/>
                </a:cubicBezTo>
                <a:cubicBezTo>
                  <a:pt x="401" y="223"/>
                  <a:pt x="401" y="223"/>
                  <a:pt x="401" y="223"/>
                </a:cubicBezTo>
                <a:lnTo>
                  <a:pt x="401" y="232"/>
                </a:lnTo>
                <a:close/>
                <a:moveTo>
                  <a:pt x="401" y="181"/>
                </a:moveTo>
                <a:cubicBezTo>
                  <a:pt x="404" y="181"/>
                  <a:pt x="404" y="181"/>
                  <a:pt x="404" y="181"/>
                </a:cubicBezTo>
                <a:cubicBezTo>
                  <a:pt x="404" y="175"/>
                  <a:pt x="404" y="175"/>
                  <a:pt x="404" y="175"/>
                </a:cubicBezTo>
                <a:cubicBezTo>
                  <a:pt x="401" y="175"/>
                  <a:pt x="401" y="175"/>
                  <a:pt x="401" y="175"/>
                </a:cubicBezTo>
                <a:lnTo>
                  <a:pt x="401" y="181"/>
                </a:lnTo>
                <a:close/>
                <a:moveTo>
                  <a:pt x="401" y="157"/>
                </a:moveTo>
                <a:cubicBezTo>
                  <a:pt x="404" y="157"/>
                  <a:pt x="404" y="157"/>
                  <a:pt x="404" y="157"/>
                </a:cubicBezTo>
                <a:cubicBezTo>
                  <a:pt x="404" y="150"/>
                  <a:pt x="404" y="150"/>
                  <a:pt x="404" y="150"/>
                </a:cubicBezTo>
                <a:cubicBezTo>
                  <a:pt x="401" y="150"/>
                  <a:pt x="401" y="150"/>
                  <a:pt x="401" y="150"/>
                </a:cubicBezTo>
                <a:lnTo>
                  <a:pt x="401" y="157"/>
                </a:lnTo>
                <a:close/>
                <a:moveTo>
                  <a:pt x="401" y="109"/>
                </a:moveTo>
                <a:cubicBezTo>
                  <a:pt x="404" y="109"/>
                  <a:pt x="404" y="109"/>
                  <a:pt x="404" y="109"/>
                </a:cubicBezTo>
                <a:cubicBezTo>
                  <a:pt x="404" y="100"/>
                  <a:pt x="404" y="100"/>
                  <a:pt x="404" y="100"/>
                </a:cubicBezTo>
                <a:cubicBezTo>
                  <a:pt x="401" y="100"/>
                  <a:pt x="401" y="100"/>
                  <a:pt x="401" y="100"/>
                </a:cubicBezTo>
                <a:lnTo>
                  <a:pt x="401" y="109"/>
                </a:lnTo>
                <a:close/>
                <a:moveTo>
                  <a:pt x="386" y="305"/>
                </a:moveTo>
                <a:cubicBezTo>
                  <a:pt x="388" y="305"/>
                  <a:pt x="388" y="305"/>
                  <a:pt x="388" y="305"/>
                </a:cubicBezTo>
                <a:cubicBezTo>
                  <a:pt x="388" y="298"/>
                  <a:pt x="388" y="298"/>
                  <a:pt x="388" y="298"/>
                </a:cubicBezTo>
                <a:cubicBezTo>
                  <a:pt x="386" y="298"/>
                  <a:pt x="386" y="298"/>
                  <a:pt x="386" y="298"/>
                </a:cubicBezTo>
                <a:lnTo>
                  <a:pt x="386" y="305"/>
                </a:lnTo>
                <a:close/>
                <a:moveTo>
                  <a:pt x="386" y="232"/>
                </a:moveTo>
                <a:cubicBezTo>
                  <a:pt x="388" y="232"/>
                  <a:pt x="388" y="232"/>
                  <a:pt x="388" y="232"/>
                </a:cubicBezTo>
                <a:cubicBezTo>
                  <a:pt x="388" y="223"/>
                  <a:pt x="388" y="223"/>
                  <a:pt x="388" y="223"/>
                </a:cubicBezTo>
                <a:cubicBezTo>
                  <a:pt x="386" y="223"/>
                  <a:pt x="386" y="223"/>
                  <a:pt x="386" y="223"/>
                </a:cubicBezTo>
                <a:lnTo>
                  <a:pt x="386" y="232"/>
                </a:lnTo>
                <a:close/>
                <a:moveTo>
                  <a:pt x="386" y="206"/>
                </a:moveTo>
                <a:cubicBezTo>
                  <a:pt x="388" y="206"/>
                  <a:pt x="388" y="206"/>
                  <a:pt x="388" y="206"/>
                </a:cubicBezTo>
                <a:cubicBezTo>
                  <a:pt x="388" y="199"/>
                  <a:pt x="388" y="199"/>
                  <a:pt x="388" y="199"/>
                </a:cubicBezTo>
                <a:cubicBezTo>
                  <a:pt x="386" y="199"/>
                  <a:pt x="386" y="199"/>
                  <a:pt x="386" y="199"/>
                </a:cubicBezTo>
                <a:lnTo>
                  <a:pt x="386" y="206"/>
                </a:lnTo>
                <a:close/>
                <a:moveTo>
                  <a:pt x="386" y="157"/>
                </a:moveTo>
                <a:cubicBezTo>
                  <a:pt x="388" y="157"/>
                  <a:pt x="388" y="157"/>
                  <a:pt x="388" y="157"/>
                </a:cubicBezTo>
                <a:cubicBezTo>
                  <a:pt x="388" y="150"/>
                  <a:pt x="388" y="150"/>
                  <a:pt x="388" y="150"/>
                </a:cubicBezTo>
                <a:cubicBezTo>
                  <a:pt x="386" y="150"/>
                  <a:pt x="386" y="150"/>
                  <a:pt x="386" y="150"/>
                </a:cubicBezTo>
                <a:lnTo>
                  <a:pt x="386" y="157"/>
                </a:lnTo>
                <a:close/>
                <a:moveTo>
                  <a:pt x="386" y="109"/>
                </a:moveTo>
                <a:cubicBezTo>
                  <a:pt x="388" y="109"/>
                  <a:pt x="388" y="109"/>
                  <a:pt x="388" y="109"/>
                </a:cubicBezTo>
                <a:cubicBezTo>
                  <a:pt x="388" y="100"/>
                  <a:pt x="388" y="100"/>
                  <a:pt x="388" y="100"/>
                </a:cubicBezTo>
                <a:cubicBezTo>
                  <a:pt x="386" y="100"/>
                  <a:pt x="386" y="100"/>
                  <a:pt x="386" y="100"/>
                </a:cubicBezTo>
                <a:lnTo>
                  <a:pt x="386" y="109"/>
                </a:lnTo>
                <a:close/>
                <a:moveTo>
                  <a:pt x="371" y="305"/>
                </a:moveTo>
                <a:cubicBezTo>
                  <a:pt x="375" y="305"/>
                  <a:pt x="375" y="305"/>
                  <a:pt x="375" y="305"/>
                </a:cubicBezTo>
                <a:cubicBezTo>
                  <a:pt x="375" y="298"/>
                  <a:pt x="375" y="298"/>
                  <a:pt x="375" y="298"/>
                </a:cubicBezTo>
                <a:cubicBezTo>
                  <a:pt x="371" y="298"/>
                  <a:pt x="371" y="298"/>
                  <a:pt x="371" y="298"/>
                </a:cubicBezTo>
                <a:lnTo>
                  <a:pt x="371" y="305"/>
                </a:lnTo>
                <a:close/>
                <a:moveTo>
                  <a:pt x="371" y="281"/>
                </a:moveTo>
                <a:cubicBezTo>
                  <a:pt x="375" y="281"/>
                  <a:pt x="375" y="281"/>
                  <a:pt x="375" y="281"/>
                </a:cubicBezTo>
                <a:cubicBezTo>
                  <a:pt x="375" y="274"/>
                  <a:pt x="375" y="274"/>
                  <a:pt x="375" y="274"/>
                </a:cubicBezTo>
                <a:cubicBezTo>
                  <a:pt x="371" y="274"/>
                  <a:pt x="371" y="274"/>
                  <a:pt x="371" y="274"/>
                </a:cubicBezTo>
                <a:lnTo>
                  <a:pt x="371" y="281"/>
                </a:lnTo>
                <a:close/>
                <a:moveTo>
                  <a:pt x="371" y="206"/>
                </a:moveTo>
                <a:cubicBezTo>
                  <a:pt x="375" y="206"/>
                  <a:pt x="375" y="206"/>
                  <a:pt x="375" y="206"/>
                </a:cubicBezTo>
                <a:cubicBezTo>
                  <a:pt x="375" y="199"/>
                  <a:pt x="375" y="199"/>
                  <a:pt x="375" y="199"/>
                </a:cubicBezTo>
                <a:cubicBezTo>
                  <a:pt x="371" y="199"/>
                  <a:pt x="371" y="199"/>
                  <a:pt x="371" y="199"/>
                </a:cubicBezTo>
                <a:lnTo>
                  <a:pt x="371" y="206"/>
                </a:lnTo>
                <a:close/>
                <a:moveTo>
                  <a:pt x="371" y="181"/>
                </a:moveTo>
                <a:cubicBezTo>
                  <a:pt x="375" y="181"/>
                  <a:pt x="375" y="181"/>
                  <a:pt x="375" y="181"/>
                </a:cubicBezTo>
                <a:cubicBezTo>
                  <a:pt x="375" y="175"/>
                  <a:pt x="375" y="175"/>
                  <a:pt x="375" y="175"/>
                </a:cubicBezTo>
                <a:cubicBezTo>
                  <a:pt x="371" y="175"/>
                  <a:pt x="371" y="175"/>
                  <a:pt x="371" y="175"/>
                </a:cubicBezTo>
                <a:lnTo>
                  <a:pt x="371" y="181"/>
                </a:lnTo>
                <a:close/>
                <a:moveTo>
                  <a:pt x="371" y="157"/>
                </a:moveTo>
                <a:cubicBezTo>
                  <a:pt x="375" y="157"/>
                  <a:pt x="375" y="157"/>
                  <a:pt x="375" y="157"/>
                </a:cubicBezTo>
                <a:cubicBezTo>
                  <a:pt x="375" y="150"/>
                  <a:pt x="375" y="150"/>
                  <a:pt x="375" y="150"/>
                </a:cubicBezTo>
                <a:cubicBezTo>
                  <a:pt x="371" y="150"/>
                  <a:pt x="371" y="150"/>
                  <a:pt x="371" y="150"/>
                </a:cubicBezTo>
                <a:lnTo>
                  <a:pt x="371" y="157"/>
                </a:lnTo>
                <a:close/>
                <a:moveTo>
                  <a:pt x="371" y="133"/>
                </a:moveTo>
                <a:cubicBezTo>
                  <a:pt x="375" y="133"/>
                  <a:pt x="375" y="133"/>
                  <a:pt x="375" y="133"/>
                </a:cubicBezTo>
                <a:cubicBezTo>
                  <a:pt x="375" y="126"/>
                  <a:pt x="375" y="126"/>
                  <a:pt x="375" y="126"/>
                </a:cubicBezTo>
                <a:cubicBezTo>
                  <a:pt x="371" y="126"/>
                  <a:pt x="371" y="126"/>
                  <a:pt x="371" y="126"/>
                </a:cubicBezTo>
                <a:lnTo>
                  <a:pt x="371" y="133"/>
                </a:lnTo>
                <a:close/>
                <a:moveTo>
                  <a:pt x="355" y="281"/>
                </a:moveTo>
                <a:cubicBezTo>
                  <a:pt x="360" y="281"/>
                  <a:pt x="360" y="281"/>
                  <a:pt x="360" y="281"/>
                </a:cubicBezTo>
                <a:cubicBezTo>
                  <a:pt x="360" y="274"/>
                  <a:pt x="360" y="274"/>
                  <a:pt x="360" y="274"/>
                </a:cubicBezTo>
                <a:cubicBezTo>
                  <a:pt x="355" y="274"/>
                  <a:pt x="355" y="274"/>
                  <a:pt x="355" y="274"/>
                </a:cubicBezTo>
                <a:lnTo>
                  <a:pt x="355" y="281"/>
                </a:lnTo>
                <a:close/>
                <a:moveTo>
                  <a:pt x="355" y="232"/>
                </a:moveTo>
                <a:cubicBezTo>
                  <a:pt x="360" y="232"/>
                  <a:pt x="360" y="232"/>
                  <a:pt x="360" y="232"/>
                </a:cubicBezTo>
                <a:cubicBezTo>
                  <a:pt x="360" y="223"/>
                  <a:pt x="360" y="223"/>
                  <a:pt x="360" y="223"/>
                </a:cubicBezTo>
                <a:cubicBezTo>
                  <a:pt x="355" y="223"/>
                  <a:pt x="355" y="223"/>
                  <a:pt x="355" y="223"/>
                </a:cubicBezTo>
                <a:lnTo>
                  <a:pt x="355" y="232"/>
                </a:lnTo>
                <a:close/>
                <a:moveTo>
                  <a:pt x="355" y="181"/>
                </a:moveTo>
                <a:cubicBezTo>
                  <a:pt x="360" y="181"/>
                  <a:pt x="360" y="181"/>
                  <a:pt x="360" y="181"/>
                </a:cubicBezTo>
                <a:cubicBezTo>
                  <a:pt x="360" y="175"/>
                  <a:pt x="360" y="175"/>
                  <a:pt x="360" y="175"/>
                </a:cubicBezTo>
                <a:cubicBezTo>
                  <a:pt x="355" y="175"/>
                  <a:pt x="355" y="175"/>
                  <a:pt x="355" y="175"/>
                </a:cubicBezTo>
                <a:lnTo>
                  <a:pt x="355" y="181"/>
                </a:lnTo>
                <a:close/>
                <a:moveTo>
                  <a:pt x="355" y="157"/>
                </a:moveTo>
                <a:cubicBezTo>
                  <a:pt x="360" y="157"/>
                  <a:pt x="360" y="157"/>
                  <a:pt x="360" y="157"/>
                </a:cubicBezTo>
                <a:cubicBezTo>
                  <a:pt x="360" y="150"/>
                  <a:pt x="360" y="150"/>
                  <a:pt x="360" y="150"/>
                </a:cubicBezTo>
                <a:cubicBezTo>
                  <a:pt x="355" y="150"/>
                  <a:pt x="355" y="150"/>
                  <a:pt x="355" y="150"/>
                </a:cubicBezTo>
                <a:lnTo>
                  <a:pt x="355" y="157"/>
                </a:lnTo>
                <a:close/>
                <a:moveTo>
                  <a:pt x="355" y="133"/>
                </a:moveTo>
                <a:cubicBezTo>
                  <a:pt x="360" y="133"/>
                  <a:pt x="360" y="133"/>
                  <a:pt x="360" y="133"/>
                </a:cubicBezTo>
                <a:cubicBezTo>
                  <a:pt x="360" y="126"/>
                  <a:pt x="360" y="126"/>
                  <a:pt x="360" y="126"/>
                </a:cubicBezTo>
                <a:cubicBezTo>
                  <a:pt x="355" y="126"/>
                  <a:pt x="355" y="126"/>
                  <a:pt x="355" y="126"/>
                </a:cubicBezTo>
                <a:lnTo>
                  <a:pt x="355" y="133"/>
                </a:lnTo>
                <a:close/>
                <a:moveTo>
                  <a:pt x="355" y="109"/>
                </a:moveTo>
                <a:cubicBezTo>
                  <a:pt x="360" y="109"/>
                  <a:pt x="360" y="109"/>
                  <a:pt x="360" y="109"/>
                </a:cubicBezTo>
                <a:cubicBezTo>
                  <a:pt x="360" y="100"/>
                  <a:pt x="360" y="100"/>
                  <a:pt x="360" y="100"/>
                </a:cubicBezTo>
                <a:cubicBezTo>
                  <a:pt x="355" y="100"/>
                  <a:pt x="355" y="100"/>
                  <a:pt x="355" y="100"/>
                </a:cubicBezTo>
                <a:lnTo>
                  <a:pt x="355" y="109"/>
                </a:lnTo>
                <a:close/>
                <a:moveTo>
                  <a:pt x="340" y="257"/>
                </a:moveTo>
                <a:cubicBezTo>
                  <a:pt x="344" y="257"/>
                  <a:pt x="344" y="257"/>
                  <a:pt x="344" y="25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0" y="250"/>
                  <a:pt x="340" y="250"/>
                  <a:pt x="340" y="250"/>
                </a:cubicBezTo>
                <a:lnTo>
                  <a:pt x="340" y="257"/>
                </a:lnTo>
                <a:close/>
                <a:moveTo>
                  <a:pt x="340" y="206"/>
                </a:moveTo>
                <a:cubicBezTo>
                  <a:pt x="344" y="206"/>
                  <a:pt x="344" y="206"/>
                  <a:pt x="344" y="206"/>
                </a:cubicBezTo>
                <a:cubicBezTo>
                  <a:pt x="344" y="199"/>
                  <a:pt x="344" y="199"/>
                  <a:pt x="344" y="199"/>
                </a:cubicBezTo>
                <a:cubicBezTo>
                  <a:pt x="340" y="199"/>
                  <a:pt x="340" y="199"/>
                  <a:pt x="340" y="199"/>
                </a:cubicBezTo>
                <a:lnTo>
                  <a:pt x="340" y="206"/>
                </a:lnTo>
                <a:close/>
                <a:moveTo>
                  <a:pt x="340" y="133"/>
                </a:moveTo>
                <a:cubicBezTo>
                  <a:pt x="344" y="133"/>
                  <a:pt x="344" y="133"/>
                  <a:pt x="344" y="133"/>
                </a:cubicBezTo>
                <a:cubicBezTo>
                  <a:pt x="344" y="126"/>
                  <a:pt x="344" y="126"/>
                  <a:pt x="344" y="126"/>
                </a:cubicBezTo>
                <a:cubicBezTo>
                  <a:pt x="340" y="126"/>
                  <a:pt x="340" y="126"/>
                  <a:pt x="340" y="126"/>
                </a:cubicBezTo>
                <a:lnTo>
                  <a:pt x="340" y="133"/>
                </a:lnTo>
                <a:close/>
                <a:moveTo>
                  <a:pt x="340" y="109"/>
                </a:moveTo>
                <a:cubicBezTo>
                  <a:pt x="344" y="109"/>
                  <a:pt x="344" y="109"/>
                  <a:pt x="344" y="109"/>
                </a:cubicBezTo>
                <a:cubicBezTo>
                  <a:pt x="344" y="100"/>
                  <a:pt x="344" y="100"/>
                  <a:pt x="344" y="100"/>
                </a:cubicBezTo>
                <a:cubicBezTo>
                  <a:pt x="340" y="100"/>
                  <a:pt x="340" y="100"/>
                  <a:pt x="340" y="100"/>
                </a:cubicBezTo>
                <a:lnTo>
                  <a:pt x="340" y="109"/>
                </a:lnTo>
                <a:close/>
                <a:moveTo>
                  <a:pt x="322" y="305"/>
                </a:moveTo>
                <a:cubicBezTo>
                  <a:pt x="327" y="305"/>
                  <a:pt x="327" y="305"/>
                  <a:pt x="327" y="305"/>
                </a:cubicBezTo>
                <a:cubicBezTo>
                  <a:pt x="327" y="298"/>
                  <a:pt x="327" y="298"/>
                  <a:pt x="327" y="298"/>
                </a:cubicBezTo>
                <a:cubicBezTo>
                  <a:pt x="322" y="298"/>
                  <a:pt x="322" y="298"/>
                  <a:pt x="322" y="298"/>
                </a:cubicBezTo>
                <a:lnTo>
                  <a:pt x="322" y="305"/>
                </a:lnTo>
                <a:close/>
                <a:moveTo>
                  <a:pt x="322" y="232"/>
                </a:moveTo>
                <a:cubicBezTo>
                  <a:pt x="327" y="232"/>
                  <a:pt x="327" y="232"/>
                  <a:pt x="327" y="232"/>
                </a:cubicBezTo>
                <a:cubicBezTo>
                  <a:pt x="327" y="223"/>
                  <a:pt x="327" y="223"/>
                  <a:pt x="327" y="223"/>
                </a:cubicBezTo>
                <a:cubicBezTo>
                  <a:pt x="322" y="223"/>
                  <a:pt x="322" y="223"/>
                  <a:pt x="322" y="223"/>
                </a:cubicBezTo>
                <a:lnTo>
                  <a:pt x="322" y="232"/>
                </a:lnTo>
                <a:close/>
                <a:moveTo>
                  <a:pt x="322" y="206"/>
                </a:moveTo>
                <a:cubicBezTo>
                  <a:pt x="327" y="206"/>
                  <a:pt x="327" y="206"/>
                  <a:pt x="327" y="206"/>
                </a:cubicBezTo>
                <a:cubicBezTo>
                  <a:pt x="327" y="199"/>
                  <a:pt x="327" y="199"/>
                  <a:pt x="327" y="199"/>
                </a:cubicBezTo>
                <a:cubicBezTo>
                  <a:pt x="322" y="199"/>
                  <a:pt x="322" y="199"/>
                  <a:pt x="322" y="199"/>
                </a:cubicBezTo>
                <a:lnTo>
                  <a:pt x="322" y="206"/>
                </a:lnTo>
                <a:close/>
                <a:moveTo>
                  <a:pt x="322" y="181"/>
                </a:moveTo>
                <a:cubicBezTo>
                  <a:pt x="327" y="181"/>
                  <a:pt x="327" y="181"/>
                  <a:pt x="327" y="181"/>
                </a:cubicBezTo>
                <a:cubicBezTo>
                  <a:pt x="327" y="175"/>
                  <a:pt x="327" y="175"/>
                  <a:pt x="327" y="175"/>
                </a:cubicBezTo>
                <a:cubicBezTo>
                  <a:pt x="322" y="175"/>
                  <a:pt x="322" y="175"/>
                  <a:pt x="322" y="175"/>
                </a:cubicBezTo>
                <a:lnTo>
                  <a:pt x="322" y="181"/>
                </a:lnTo>
                <a:close/>
                <a:moveTo>
                  <a:pt x="322" y="157"/>
                </a:moveTo>
                <a:cubicBezTo>
                  <a:pt x="327" y="157"/>
                  <a:pt x="327" y="157"/>
                  <a:pt x="327" y="157"/>
                </a:cubicBezTo>
                <a:cubicBezTo>
                  <a:pt x="327" y="150"/>
                  <a:pt x="327" y="150"/>
                  <a:pt x="327" y="150"/>
                </a:cubicBezTo>
                <a:cubicBezTo>
                  <a:pt x="322" y="150"/>
                  <a:pt x="322" y="150"/>
                  <a:pt x="322" y="150"/>
                </a:cubicBezTo>
                <a:lnTo>
                  <a:pt x="322" y="157"/>
                </a:lnTo>
                <a:close/>
                <a:moveTo>
                  <a:pt x="307" y="305"/>
                </a:moveTo>
                <a:cubicBezTo>
                  <a:pt x="309" y="305"/>
                  <a:pt x="309" y="305"/>
                  <a:pt x="309" y="305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07" y="298"/>
                  <a:pt x="307" y="298"/>
                  <a:pt x="307" y="298"/>
                </a:cubicBezTo>
                <a:lnTo>
                  <a:pt x="307" y="305"/>
                </a:lnTo>
                <a:close/>
                <a:moveTo>
                  <a:pt x="307" y="281"/>
                </a:moveTo>
                <a:cubicBezTo>
                  <a:pt x="309" y="281"/>
                  <a:pt x="309" y="281"/>
                  <a:pt x="309" y="281"/>
                </a:cubicBezTo>
                <a:cubicBezTo>
                  <a:pt x="309" y="274"/>
                  <a:pt x="309" y="274"/>
                  <a:pt x="309" y="274"/>
                </a:cubicBezTo>
                <a:cubicBezTo>
                  <a:pt x="307" y="274"/>
                  <a:pt x="307" y="274"/>
                  <a:pt x="307" y="274"/>
                </a:cubicBezTo>
                <a:lnTo>
                  <a:pt x="307" y="281"/>
                </a:lnTo>
                <a:close/>
                <a:moveTo>
                  <a:pt x="307" y="257"/>
                </a:moveTo>
                <a:cubicBezTo>
                  <a:pt x="309" y="257"/>
                  <a:pt x="309" y="257"/>
                  <a:pt x="309" y="257"/>
                </a:cubicBezTo>
                <a:cubicBezTo>
                  <a:pt x="309" y="250"/>
                  <a:pt x="309" y="250"/>
                  <a:pt x="309" y="250"/>
                </a:cubicBezTo>
                <a:cubicBezTo>
                  <a:pt x="307" y="250"/>
                  <a:pt x="307" y="250"/>
                  <a:pt x="307" y="250"/>
                </a:cubicBezTo>
                <a:lnTo>
                  <a:pt x="307" y="257"/>
                </a:lnTo>
                <a:close/>
                <a:moveTo>
                  <a:pt x="307" y="232"/>
                </a:moveTo>
                <a:cubicBezTo>
                  <a:pt x="309" y="232"/>
                  <a:pt x="309" y="232"/>
                  <a:pt x="309" y="232"/>
                </a:cubicBezTo>
                <a:cubicBezTo>
                  <a:pt x="309" y="223"/>
                  <a:pt x="309" y="223"/>
                  <a:pt x="309" y="223"/>
                </a:cubicBezTo>
                <a:cubicBezTo>
                  <a:pt x="307" y="223"/>
                  <a:pt x="307" y="223"/>
                  <a:pt x="307" y="223"/>
                </a:cubicBezTo>
                <a:lnTo>
                  <a:pt x="307" y="232"/>
                </a:lnTo>
                <a:close/>
                <a:moveTo>
                  <a:pt x="307" y="157"/>
                </a:moveTo>
                <a:cubicBezTo>
                  <a:pt x="309" y="157"/>
                  <a:pt x="309" y="157"/>
                  <a:pt x="309" y="157"/>
                </a:cubicBezTo>
                <a:cubicBezTo>
                  <a:pt x="309" y="150"/>
                  <a:pt x="309" y="150"/>
                  <a:pt x="309" y="150"/>
                </a:cubicBezTo>
                <a:cubicBezTo>
                  <a:pt x="307" y="150"/>
                  <a:pt x="307" y="150"/>
                  <a:pt x="307" y="150"/>
                </a:cubicBezTo>
                <a:lnTo>
                  <a:pt x="307" y="157"/>
                </a:lnTo>
                <a:close/>
                <a:moveTo>
                  <a:pt x="287" y="305"/>
                </a:moveTo>
                <a:cubicBezTo>
                  <a:pt x="291" y="305"/>
                  <a:pt x="291" y="305"/>
                  <a:pt x="291" y="305"/>
                </a:cubicBezTo>
                <a:cubicBezTo>
                  <a:pt x="291" y="298"/>
                  <a:pt x="291" y="298"/>
                  <a:pt x="291" y="298"/>
                </a:cubicBezTo>
                <a:cubicBezTo>
                  <a:pt x="287" y="298"/>
                  <a:pt x="287" y="298"/>
                  <a:pt x="287" y="298"/>
                </a:cubicBezTo>
                <a:lnTo>
                  <a:pt x="287" y="305"/>
                </a:lnTo>
                <a:close/>
                <a:moveTo>
                  <a:pt x="287" y="257"/>
                </a:moveTo>
                <a:cubicBezTo>
                  <a:pt x="291" y="257"/>
                  <a:pt x="291" y="257"/>
                  <a:pt x="291" y="257"/>
                </a:cubicBezTo>
                <a:cubicBezTo>
                  <a:pt x="291" y="250"/>
                  <a:pt x="291" y="250"/>
                  <a:pt x="291" y="250"/>
                </a:cubicBezTo>
                <a:cubicBezTo>
                  <a:pt x="287" y="250"/>
                  <a:pt x="287" y="250"/>
                  <a:pt x="287" y="250"/>
                </a:cubicBezTo>
                <a:lnTo>
                  <a:pt x="287" y="257"/>
                </a:lnTo>
                <a:close/>
                <a:moveTo>
                  <a:pt x="287" y="232"/>
                </a:moveTo>
                <a:cubicBezTo>
                  <a:pt x="291" y="232"/>
                  <a:pt x="291" y="232"/>
                  <a:pt x="291" y="232"/>
                </a:cubicBezTo>
                <a:cubicBezTo>
                  <a:pt x="291" y="223"/>
                  <a:pt x="291" y="223"/>
                  <a:pt x="291" y="223"/>
                </a:cubicBezTo>
                <a:cubicBezTo>
                  <a:pt x="287" y="223"/>
                  <a:pt x="287" y="223"/>
                  <a:pt x="287" y="223"/>
                </a:cubicBezTo>
                <a:lnTo>
                  <a:pt x="287" y="232"/>
                </a:lnTo>
                <a:close/>
                <a:moveTo>
                  <a:pt x="287" y="206"/>
                </a:moveTo>
                <a:cubicBezTo>
                  <a:pt x="291" y="206"/>
                  <a:pt x="291" y="206"/>
                  <a:pt x="291" y="206"/>
                </a:cubicBezTo>
                <a:cubicBezTo>
                  <a:pt x="291" y="199"/>
                  <a:pt x="291" y="199"/>
                  <a:pt x="291" y="199"/>
                </a:cubicBezTo>
                <a:cubicBezTo>
                  <a:pt x="287" y="199"/>
                  <a:pt x="287" y="199"/>
                  <a:pt x="287" y="199"/>
                </a:cubicBezTo>
                <a:lnTo>
                  <a:pt x="287" y="206"/>
                </a:lnTo>
                <a:close/>
                <a:moveTo>
                  <a:pt x="287" y="181"/>
                </a:moveTo>
                <a:cubicBezTo>
                  <a:pt x="291" y="181"/>
                  <a:pt x="291" y="181"/>
                  <a:pt x="291" y="181"/>
                </a:cubicBezTo>
                <a:cubicBezTo>
                  <a:pt x="291" y="175"/>
                  <a:pt x="291" y="175"/>
                  <a:pt x="291" y="175"/>
                </a:cubicBezTo>
                <a:cubicBezTo>
                  <a:pt x="287" y="175"/>
                  <a:pt x="287" y="175"/>
                  <a:pt x="287" y="175"/>
                </a:cubicBezTo>
                <a:lnTo>
                  <a:pt x="287" y="181"/>
                </a:lnTo>
                <a:close/>
                <a:moveTo>
                  <a:pt x="271" y="305"/>
                </a:moveTo>
                <a:cubicBezTo>
                  <a:pt x="274" y="305"/>
                  <a:pt x="274" y="305"/>
                  <a:pt x="274" y="305"/>
                </a:cubicBezTo>
                <a:cubicBezTo>
                  <a:pt x="274" y="298"/>
                  <a:pt x="274" y="298"/>
                  <a:pt x="274" y="298"/>
                </a:cubicBezTo>
                <a:cubicBezTo>
                  <a:pt x="271" y="298"/>
                  <a:pt x="271" y="298"/>
                  <a:pt x="271" y="298"/>
                </a:cubicBezTo>
                <a:lnTo>
                  <a:pt x="271" y="305"/>
                </a:lnTo>
                <a:close/>
                <a:moveTo>
                  <a:pt x="271" y="181"/>
                </a:moveTo>
                <a:cubicBezTo>
                  <a:pt x="274" y="181"/>
                  <a:pt x="274" y="181"/>
                  <a:pt x="274" y="181"/>
                </a:cubicBezTo>
                <a:cubicBezTo>
                  <a:pt x="274" y="175"/>
                  <a:pt x="274" y="175"/>
                  <a:pt x="274" y="175"/>
                </a:cubicBezTo>
                <a:cubicBezTo>
                  <a:pt x="271" y="175"/>
                  <a:pt x="271" y="175"/>
                  <a:pt x="271" y="175"/>
                </a:cubicBezTo>
                <a:lnTo>
                  <a:pt x="271" y="181"/>
                </a:lnTo>
                <a:close/>
                <a:moveTo>
                  <a:pt x="253" y="281"/>
                </a:moveTo>
                <a:cubicBezTo>
                  <a:pt x="256" y="281"/>
                  <a:pt x="256" y="281"/>
                  <a:pt x="256" y="281"/>
                </a:cubicBezTo>
                <a:cubicBezTo>
                  <a:pt x="256" y="274"/>
                  <a:pt x="256" y="274"/>
                  <a:pt x="256" y="274"/>
                </a:cubicBezTo>
                <a:cubicBezTo>
                  <a:pt x="253" y="274"/>
                  <a:pt x="253" y="274"/>
                  <a:pt x="253" y="274"/>
                </a:cubicBezTo>
                <a:lnTo>
                  <a:pt x="253" y="281"/>
                </a:lnTo>
                <a:close/>
                <a:moveTo>
                  <a:pt x="253" y="257"/>
                </a:moveTo>
                <a:cubicBezTo>
                  <a:pt x="256" y="257"/>
                  <a:pt x="256" y="257"/>
                  <a:pt x="256" y="257"/>
                </a:cubicBezTo>
                <a:cubicBezTo>
                  <a:pt x="256" y="250"/>
                  <a:pt x="256" y="250"/>
                  <a:pt x="256" y="250"/>
                </a:cubicBezTo>
                <a:cubicBezTo>
                  <a:pt x="253" y="250"/>
                  <a:pt x="253" y="250"/>
                  <a:pt x="253" y="250"/>
                </a:cubicBezTo>
                <a:lnTo>
                  <a:pt x="253" y="257"/>
                </a:lnTo>
                <a:close/>
                <a:moveTo>
                  <a:pt x="253" y="206"/>
                </a:moveTo>
                <a:cubicBezTo>
                  <a:pt x="256" y="206"/>
                  <a:pt x="256" y="206"/>
                  <a:pt x="256" y="206"/>
                </a:cubicBezTo>
                <a:cubicBezTo>
                  <a:pt x="256" y="199"/>
                  <a:pt x="256" y="199"/>
                  <a:pt x="256" y="199"/>
                </a:cubicBezTo>
                <a:cubicBezTo>
                  <a:pt x="253" y="199"/>
                  <a:pt x="253" y="199"/>
                  <a:pt x="253" y="199"/>
                </a:cubicBezTo>
                <a:lnTo>
                  <a:pt x="253" y="206"/>
                </a:lnTo>
                <a:close/>
                <a:moveTo>
                  <a:pt x="234" y="257"/>
                </a:moveTo>
                <a:cubicBezTo>
                  <a:pt x="238" y="257"/>
                  <a:pt x="238" y="257"/>
                  <a:pt x="238" y="257"/>
                </a:cubicBezTo>
                <a:cubicBezTo>
                  <a:pt x="238" y="250"/>
                  <a:pt x="238" y="250"/>
                  <a:pt x="238" y="250"/>
                </a:cubicBezTo>
                <a:cubicBezTo>
                  <a:pt x="234" y="250"/>
                  <a:pt x="234" y="250"/>
                  <a:pt x="234" y="250"/>
                </a:cubicBezTo>
                <a:lnTo>
                  <a:pt x="234" y="257"/>
                </a:lnTo>
                <a:close/>
                <a:moveTo>
                  <a:pt x="218" y="305"/>
                </a:moveTo>
                <a:cubicBezTo>
                  <a:pt x="221" y="305"/>
                  <a:pt x="221" y="305"/>
                  <a:pt x="221" y="305"/>
                </a:cubicBezTo>
                <a:cubicBezTo>
                  <a:pt x="221" y="298"/>
                  <a:pt x="221" y="298"/>
                  <a:pt x="221" y="298"/>
                </a:cubicBezTo>
                <a:cubicBezTo>
                  <a:pt x="218" y="298"/>
                  <a:pt x="218" y="298"/>
                  <a:pt x="218" y="298"/>
                </a:cubicBezTo>
                <a:lnTo>
                  <a:pt x="218" y="305"/>
                </a:lnTo>
                <a:close/>
                <a:moveTo>
                  <a:pt x="218" y="281"/>
                </a:moveTo>
                <a:cubicBezTo>
                  <a:pt x="221" y="281"/>
                  <a:pt x="221" y="281"/>
                  <a:pt x="221" y="281"/>
                </a:cubicBezTo>
                <a:cubicBezTo>
                  <a:pt x="221" y="274"/>
                  <a:pt x="221" y="274"/>
                  <a:pt x="221" y="274"/>
                </a:cubicBezTo>
                <a:cubicBezTo>
                  <a:pt x="218" y="274"/>
                  <a:pt x="218" y="274"/>
                  <a:pt x="218" y="274"/>
                </a:cubicBezTo>
                <a:lnTo>
                  <a:pt x="218" y="281"/>
                </a:lnTo>
                <a:close/>
                <a:moveTo>
                  <a:pt x="218" y="232"/>
                </a:moveTo>
                <a:cubicBezTo>
                  <a:pt x="221" y="232"/>
                  <a:pt x="221" y="232"/>
                  <a:pt x="221" y="232"/>
                </a:cubicBezTo>
                <a:cubicBezTo>
                  <a:pt x="221" y="223"/>
                  <a:pt x="221" y="223"/>
                  <a:pt x="221" y="223"/>
                </a:cubicBezTo>
                <a:cubicBezTo>
                  <a:pt x="218" y="223"/>
                  <a:pt x="218" y="223"/>
                  <a:pt x="218" y="223"/>
                </a:cubicBezTo>
                <a:lnTo>
                  <a:pt x="218" y="232"/>
                </a:lnTo>
                <a:close/>
                <a:moveTo>
                  <a:pt x="218" y="206"/>
                </a:moveTo>
                <a:cubicBezTo>
                  <a:pt x="221" y="206"/>
                  <a:pt x="221" y="206"/>
                  <a:pt x="221" y="206"/>
                </a:cubicBezTo>
                <a:cubicBezTo>
                  <a:pt x="221" y="199"/>
                  <a:pt x="221" y="199"/>
                  <a:pt x="221" y="199"/>
                </a:cubicBezTo>
                <a:cubicBezTo>
                  <a:pt x="218" y="199"/>
                  <a:pt x="218" y="199"/>
                  <a:pt x="218" y="199"/>
                </a:cubicBezTo>
                <a:lnTo>
                  <a:pt x="218" y="206"/>
                </a:lnTo>
                <a:close/>
                <a:moveTo>
                  <a:pt x="201" y="305"/>
                </a:moveTo>
                <a:cubicBezTo>
                  <a:pt x="203" y="305"/>
                  <a:pt x="203" y="305"/>
                  <a:pt x="203" y="305"/>
                </a:cubicBezTo>
                <a:cubicBezTo>
                  <a:pt x="203" y="298"/>
                  <a:pt x="203" y="298"/>
                  <a:pt x="203" y="298"/>
                </a:cubicBezTo>
                <a:cubicBezTo>
                  <a:pt x="201" y="298"/>
                  <a:pt x="201" y="298"/>
                  <a:pt x="201" y="298"/>
                </a:cubicBezTo>
                <a:lnTo>
                  <a:pt x="201" y="305"/>
                </a:lnTo>
                <a:close/>
                <a:moveTo>
                  <a:pt x="201" y="281"/>
                </a:moveTo>
                <a:cubicBezTo>
                  <a:pt x="203" y="281"/>
                  <a:pt x="203" y="281"/>
                  <a:pt x="203" y="281"/>
                </a:cubicBezTo>
                <a:cubicBezTo>
                  <a:pt x="203" y="274"/>
                  <a:pt x="203" y="274"/>
                  <a:pt x="203" y="274"/>
                </a:cubicBezTo>
                <a:cubicBezTo>
                  <a:pt x="201" y="274"/>
                  <a:pt x="201" y="274"/>
                  <a:pt x="201" y="274"/>
                </a:cubicBezTo>
                <a:lnTo>
                  <a:pt x="201" y="281"/>
                </a:lnTo>
                <a:close/>
                <a:moveTo>
                  <a:pt x="201" y="257"/>
                </a:moveTo>
                <a:cubicBezTo>
                  <a:pt x="203" y="257"/>
                  <a:pt x="203" y="257"/>
                  <a:pt x="203" y="257"/>
                </a:cubicBezTo>
                <a:cubicBezTo>
                  <a:pt x="203" y="250"/>
                  <a:pt x="203" y="250"/>
                  <a:pt x="203" y="250"/>
                </a:cubicBezTo>
                <a:cubicBezTo>
                  <a:pt x="201" y="250"/>
                  <a:pt x="201" y="250"/>
                  <a:pt x="201" y="250"/>
                </a:cubicBezTo>
                <a:lnTo>
                  <a:pt x="201" y="257"/>
                </a:lnTo>
                <a:close/>
                <a:moveTo>
                  <a:pt x="201" y="232"/>
                </a:moveTo>
                <a:cubicBezTo>
                  <a:pt x="203" y="232"/>
                  <a:pt x="203" y="232"/>
                  <a:pt x="203" y="232"/>
                </a:cubicBezTo>
                <a:cubicBezTo>
                  <a:pt x="203" y="223"/>
                  <a:pt x="203" y="223"/>
                  <a:pt x="203" y="223"/>
                </a:cubicBezTo>
                <a:cubicBezTo>
                  <a:pt x="201" y="223"/>
                  <a:pt x="201" y="223"/>
                  <a:pt x="201" y="223"/>
                </a:cubicBezTo>
                <a:lnTo>
                  <a:pt x="201" y="232"/>
                </a:lnTo>
                <a:close/>
                <a:moveTo>
                  <a:pt x="183" y="305"/>
                </a:moveTo>
                <a:cubicBezTo>
                  <a:pt x="185" y="305"/>
                  <a:pt x="185" y="305"/>
                  <a:pt x="185" y="305"/>
                </a:cubicBezTo>
                <a:cubicBezTo>
                  <a:pt x="185" y="298"/>
                  <a:pt x="185" y="298"/>
                  <a:pt x="185" y="298"/>
                </a:cubicBezTo>
                <a:cubicBezTo>
                  <a:pt x="183" y="298"/>
                  <a:pt x="183" y="298"/>
                  <a:pt x="183" y="298"/>
                </a:cubicBezTo>
                <a:lnTo>
                  <a:pt x="183" y="305"/>
                </a:lnTo>
                <a:close/>
                <a:moveTo>
                  <a:pt x="183" y="281"/>
                </a:moveTo>
                <a:cubicBezTo>
                  <a:pt x="185" y="281"/>
                  <a:pt x="185" y="281"/>
                  <a:pt x="185" y="281"/>
                </a:cubicBezTo>
                <a:cubicBezTo>
                  <a:pt x="185" y="274"/>
                  <a:pt x="185" y="274"/>
                  <a:pt x="185" y="274"/>
                </a:cubicBezTo>
                <a:cubicBezTo>
                  <a:pt x="183" y="274"/>
                  <a:pt x="183" y="274"/>
                  <a:pt x="183" y="274"/>
                </a:cubicBezTo>
                <a:lnTo>
                  <a:pt x="183" y="281"/>
                </a:lnTo>
                <a:close/>
                <a:moveTo>
                  <a:pt x="183" y="257"/>
                </a:moveTo>
                <a:cubicBezTo>
                  <a:pt x="185" y="257"/>
                  <a:pt x="185" y="257"/>
                  <a:pt x="185" y="257"/>
                </a:cubicBezTo>
                <a:cubicBezTo>
                  <a:pt x="185" y="250"/>
                  <a:pt x="185" y="250"/>
                  <a:pt x="185" y="250"/>
                </a:cubicBezTo>
                <a:cubicBezTo>
                  <a:pt x="183" y="250"/>
                  <a:pt x="183" y="250"/>
                  <a:pt x="183" y="250"/>
                </a:cubicBezTo>
                <a:lnTo>
                  <a:pt x="183" y="257"/>
                </a:lnTo>
                <a:close/>
                <a:moveTo>
                  <a:pt x="183" y="232"/>
                </a:moveTo>
                <a:cubicBezTo>
                  <a:pt x="185" y="232"/>
                  <a:pt x="185" y="232"/>
                  <a:pt x="185" y="232"/>
                </a:cubicBezTo>
                <a:cubicBezTo>
                  <a:pt x="185" y="223"/>
                  <a:pt x="185" y="223"/>
                  <a:pt x="185" y="223"/>
                </a:cubicBezTo>
                <a:cubicBezTo>
                  <a:pt x="183" y="223"/>
                  <a:pt x="183" y="223"/>
                  <a:pt x="183" y="223"/>
                </a:cubicBezTo>
                <a:lnTo>
                  <a:pt x="183" y="232"/>
                </a:lnTo>
                <a:close/>
                <a:moveTo>
                  <a:pt x="183" y="206"/>
                </a:moveTo>
                <a:cubicBezTo>
                  <a:pt x="185" y="206"/>
                  <a:pt x="185" y="206"/>
                  <a:pt x="185" y="206"/>
                </a:cubicBezTo>
                <a:cubicBezTo>
                  <a:pt x="185" y="199"/>
                  <a:pt x="185" y="199"/>
                  <a:pt x="185" y="199"/>
                </a:cubicBezTo>
                <a:cubicBezTo>
                  <a:pt x="183" y="199"/>
                  <a:pt x="183" y="199"/>
                  <a:pt x="183" y="199"/>
                </a:cubicBezTo>
                <a:lnTo>
                  <a:pt x="183" y="206"/>
                </a:lnTo>
                <a:close/>
                <a:moveTo>
                  <a:pt x="157" y="87"/>
                </a:moveTo>
                <a:cubicBezTo>
                  <a:pt x="160" y="90"/>
                  <a:pt x="163" y="91"/>
                  <a:pt x="167" y="91"/>
                </a:cubicBezTo>
                <a:cubicBezTo>
                  <a:pt x="170" y="91"/>
                  <a:pt x="174" y="90"/>
                  <a:pt x="177" y="87"/>
                </a:cubicBezTo>
                <a:cubicBezTo>
                  <a:pt x="180" y="85"/>
                  <a:pt x="181" y="82"/>
                  <a:pt x="181" y="78"/>
                </a:cubicBezTo>
                <a:cubicBezTo>
                  <a:pt x="181" y="74"/>
                  <a:pt x="180" y="71"/>
                  <a:pt x="177" y="68"/>
                </a:cubicBezTo>
                <a:cubicBezTo>
                  <a:pt x="174" y="65"/>
                  <a:pt x="170" y="64"/>
                  <a:pt x="167" y="64"/>
                </a:cubicBezTo>
                <a:cubicBezTo>
                  <a:pt x="163" y="64"/>
                  <a:pt x="160" y="65"/>
                  <a:pt x="157" y="68"/>
                </a:cubicBezTo>
                <a:cubicBezTo>
                  <a:pt x="155" y="71"/>
                  <a:pt x="154" y="74"/>
                  <a:pt x="154" y="78"/>
                </a:cubicBezTo>
                <a:cubicBezTo>
                  <a:pt x="154" y="82"/>
                  <a:pt x="155" y="85"/>
                  <a:pt x="157" y="87"/>
                </a:cubicBezTo>
                <a:moveTo>
                  <a:pt x="148" y="305"/>
                </a:moveTo>
                <a:cubicBezTo>
                  <a:pt x="152" y="305"/>
                  <a:pt x="152" y="305"/>
                  <a:pt x="152" y="305"/>
                </a:cubicBezTo>
                <a:cubicBezTo>
                  <a:pt x="152" y="298"/>
                  <a:pt x="152" y="298"/>
                  <a:pt x="152" y="298"/>
                </a:cubicBezTo>
                <a:cubicBezTo>
                  <a:pt x="148" y="298"/>
                  <a:pt x="148" y="298"/>
                  <a:pt x="148" y="298"/>
                </a:cubicBezTo>
                <a:lnTo>
                  <a:pt x="148" y="305"/>
                </a:lnTo>
                <a:close/>
                <a:moveTo>
                  <a:pt x="106" y="292"/>
                </a:moveTo>
                <a:cubicBezTo>
                  <a:pt x="108" y="292"/>
                  <a:pt x="108" y="292"/>
                  <a:pt x="108" y="292"/>
                </a:cubicBezTo>
                <a:cubicBezTo>
                  <a:pt x="108" y="285"/>
                  <a:pt x="108" y="285"/>
                  <a:pt x="108" y="285"/>
                </a:cubicBezTo>
                <a:cubicBezTo>
                  <a:pt x="106" y="285"/>
                  <a:pt x="106" y="285"/>
                  <a:pt x="106" y="285"/>
                </a:cubicBezTo>
                <a:lnTo>
                  <a:pt x="106" y="292"/>
                </a:lnTo>
                <a:close/>
                <a:moveTo>
                  <a:pt x="106" y="268"/>
                </a:moveTo>
                <a:cubicBezTo>
                  <a:pt x="108" y="268"/>
                  <a:pt x="108" y="268"/>
                  <a:pt x="108" y="268"/>
                </a:cubicBezTo>
                <a:cubicBezTo>
                  <a:pt x="108" y="261"/>
                  <a:pt x="108" y="261"/>
                  <a:pt x="108" y="261"/>
                </a:cubicBezTo>
                <a:cubicBezTo>
                  <a:pt x="106" y="261"/>
                  <a:pt x="106" y="261"/>
                  <a:pt x="106" y="261"/>
                </a:cubicBezTo>
                <a:lnTo>
                  <a:pt x="106" y="268"/>
                </a:lnTo>
                <a:close/>
                <a:moveTo>
                  <a:pt x="106" y="243"/>
                </a:moveTo>
                <a:cubicBezTo>
                  <a:pt x="108" y="243"/>
                  <a:pt x="108" y="243"/>
                  <a:pt x="108" y="243"/>
                </a:cubicBezTo>
                <a:cubicBezTo>
                  <a:pt x="108" y="236"/>
                  <a:pt x="108" y="236"/>
                  <a:pt x="108" y="236"/>
                </a:cubicBezTo>
                <a:cubicBezTo>
                  <a:pt x="106" y="236"/>
                  <a:pt x="106" y="236"/>
                  <a:pt x="106" y="236"/>
                </a:cubicBezTo>
                <a:lnTo>
                  <a:pt x="106" y="243"/>
                </a:lnTo>
                <a:close/>
                <a:moveTo>
                  <a:pt x="106" y="219"/>
                </a:moveTo>
                <a:cubicBezTo>
                  <a:pt x="108" y="219"/>
                  <a:pt x="108" y="219"/>
                  <a:pt x="108" y="219"/>
                </a:cubicBezTo>
                <a:cubicBezTo>
                  <a:pt x="108" y="210"/>
                  <a:pt x="108" y="210"/>
                  <a:pt x="108" y="210"/>
                </a:cubicBezTo>
                <a:cubicBezTo>
                  <a:pt x="106" y="210"/>
                  <a:pt x="106" y="210"/>
                  <a:pt x="106" y="210"/>
                </a:cubicBezTo>
                <a:lnTo>
                  <a:pt x="106" y="219"/>
                </a:lnTo>
                <a:close/>
                <a:moveTo>
                  <a:pt x="106" y="192"/>
                </a:moveTo>
                <a:cubicBezTo>
                  <a:pt x="108" y="192"/>
                  <a:pt x="108" y="192"/>
                  <a:pt x="108" y="192"/>
                </a:cubicBezTo>
                <a:cubicBezTo>
                  <a:pt x="108" y="186"/>
                  <a:pt x="108" y="186"/>
                  <a:pt x="108" y="186"/>
                </a:cubicBezTo>
                <a:cubicBezTo>
                  <a:pt x="106" y="186"/>
                  <a:pt x="106" y="186"/>
                  <a:pt x="106" y="186"/>
                </a:cubicBezTo>
                <a:lnTo>
                  <a:pt x="106" y="192"/>
                </a:lnTo>
                <a:close/>
                <a:moveTo>
                  <a:pt x="90" y="292"/>
                </a:moveTo>
                <a:cubicBezTo>
                  <a:pt x="92" y="292"/>
                  <a:pt x="92" y="292"/>
                  <a:pt x="92" y="292"/>
                </a:cubicBezTo>
                <a:cubicBezTo>
                  <a:pt x="92" y="285"/>
                  <a:pt x="92" y="285"/>
                  <a:pt x="92" y="285"/>
                </a:cubicBezTo>
                <a:cubicBezTo>
                  <a:pt x="90" y="285"/>
                  <a:pt x="90" y="285"/>
                  <a:pt x="90" y="285"/>
                </a:cubicBezTo>
                <a:lnTo>
                  <a:pt x="90" y="292"/>
                </a:lnTo>
                <a:close/>
                <a:moveTo>
                  <a:pt x="90" y="268"/>
                </a:moveTo>
                <a:cubicBezTo>
                  <a:pt x="92" y="268"/>
                  <a:pt x="92" y="268"/>
                  <a:pt x="92" y="268"/>
                </a:cubicBezTo>
                <a:cubicBezTo>
                  <a:pt x="92" y="261"/>
                  <a:pt x="92" y="261"/>
                  <a:pt x="92" y="261"/>
                </a:cubicBezTo>
                <a:cubicBezTo>
                  <a:pt x="90" y="261"/>
                  <a:pt x="90" y="261"/>
                  <a:pt x="90" y="261"/>
                </a:cubicBezTo>
                <a:lnTo>
                  <a:pt x="90" y="268"/>
                </a:lnTo>
                <a:close/>
                <a:moveTo>
                  <a:pt x="90" y="243"/>
                </a:moveTo>
                <a:cubicBezTo>
                  <a:pt x="92" y="243"/>
                  <a:pt x="92" y="243"/>
                  <a:pt x="92" y="243"/>
                </a:cubicBezTo>
                <a:cubicBezTo>
                  <a:pt x="92" y="236"/>
                  <a:pt x="92" y="236"/>
                  <a:pt x="92" y="236"/>
                </a:cubicBezTo>
                <a:cubicBezTo>
                  <a:pt x="90" y="236"/>
                  <a:pt x="90" y="236"/>
                  <a:pt x="90" y="236"/>
                </a:cubicBezTo>
                <a:lnTo>
                  <a:pt x="90" y="243"/>
                </a:lnTo>
                <a:close/>
                <a:moveTo>
                  <a:pt x="86" y="58"/>
                </a:moveTo>
                <a:cubicBezTo>
                  <a:pt x="88" y="58"/>
                  <a:pt x="88" y="58"/>
                  <a:pt x="88" y="58"/>
                </a:cubicBezTo>
                <a:cubicBezTo>
                  <a:pt x="88" y="49"/>
                  <a:pt x="88" y="49"/>
                  <a:pt x="88" y="49"/>
                </a:cubicBezTo>
                <a:cubicBezTo>
                  <a:pt x="86" y="49"/>
                  <a:pt x="86" y="49"/>
                  <a:pt x="86" y="49"/>
                </a:cubicBezTo>
                <a:lnTo>
                  <a:pt x="86" y="58"/>
                </a:lnTo>
                <a:close/>
                <a:moveTo>
                  <a:pt x="82" y="144"/>
                </a:moveTo>
                <a:cubicBezTo>
                  <a:pt x="86" y="144"/>
                  <a:pt x="86" y="144"/>
                  <a:pt x="86" y="144"/>
                </a:cubicBezTo>
                <a:cubicBezTo>
                  <a:pt x="86" y="135"/>
                  <a:pt x="86" y="135"/>
                  <a:pt x="86" y="135"/>
                </a:cubicBezTo>
                <a:cubicBezTo>
                  <a:pt x="82" y="135"/>
                  <a:pt x="82" y="135"/>
                  <a:pt x="82" y="135"/>
                </a:cubicBezTo>
                <a:lnTo>
                  <a:pt x="82" y="144"/>
                </a:lnTo>
                <a:close/>
                <a:moveTo>
                  <a:pt x="82" y="111"/>
                </a:moveTo>
                <a:cubicBezTo>
                  <a:pt x="86" y="111"/>
                  <a:pt x="86" y="111"/>
                  <a:pt x="86" y="111"/>
                </a:cubicBezTo>
                <a:cubicBezTo>
                  <a:pt x="86" y="104"/>
                  <a:pt x="86" y="104"/>
                  <a:pt x="86" y="104"/>
                </a:cubicBezTo>
                <a:cubicBezTo>
                  <a:pt x="82" y="104"/>
                  <a:pt x="82" y="104"/>
                  <a:pt x="82" y="104"/>
                </a:cubicBezTo>
                <a:lnTo>
                  <a:pt x="82" y="111"/>
                </a:lnTo>
                <a:close/>
                <a:moveTo>
                  <a:pt x="82" y="86"/>
                </a:moveTo>
                <a:cubicBezTo>
                  <a:pt x="86" y="86"/>
                  <a:pt x="86" y="86"/>
                  <a:pt x="86" y="86"/>
                </a:cubicBezTo>
                <a:cubicBezTo>
                  <a:pt x="86" y="78"/>
                  <a:pt x="86" y="78"/>
                  <a:pt x="86" y="78"/>
                </a:cubicBezTo>
                <a:cubicBezTo>
                  <a:pt x="82" y="78"/>
                  <a:pt x="82" y="78"/>
                  <a:pt x="82" y="78"/>
                </a:cubicBezTo>
                <a:lnTo>
                  <a:pt x="82" y="86"/>
                </a:lnTo>
                <a:close/>
                <a:moveTo>
                  <a:pt x="75" y="292"/>
                </a:moveTo>
                <a:cubicBezTo>
                  <a:pt x="77" y="292"/>
                  <a:pt x="77" y="292"/>
                  <a:pt x="77" y="292"/>
                </a:cubicBezTo>
                <a:cubicBezTo>
                  <a:pt x="77" y="285"/>
                  <a:pt x="77" y="285"/>
                  <a:pt x="77" y="285"/>
                </a:cubicBezTo>
                <a:cubicBezTo>
                  <a:pt x="75" y="285"/>
                  <a:pt x="75" y="285"/>
                  <a:pt x="75" y="285"/>
                </a:cubicBezTo>
                <a:lnTo>
                  <a:pt x="75" y="292"/>
                </a:lnTo>
                <a:close/>
                <a:moveTo>
                  <a:pt x="75" y="243"/>
                </a:moveTo>
                <a:cubicBezTo>
                  <a:pt x="77" y="243"/>
                  <a:pt x="77" y="243"/>
                  <a:pt x="77" y="243"/>
                </a:cubicBezTo>
                <a:cubicBezTo>
                  <a:pt x="77" y="236"/>
                  <a:pt x="77" y="236"/>
                  <a:pt x="77" y="236"/>
                </a:cubicBezTo>
                <a:cubicBezTo>
                  <a:pt x="75" y="236"/>
                  <a:pt x="75" y="236"/>
                  <a:pt x="75" y="236"/>
                </a:cubicBezTo>
                <a:lnTo>
                  <a:pt x="75" y="243"/>
                </a:lnTo>
                <a:close/>
                <a:moveTo>
                  <a:pt x="75" y="192"/>
                </a:moveTo>
                <a:cubicBezTo>
                  <a:pt x="77" y="192"/>
                  <a:pt x="77" y="192"/>
                  <a:pt x="77" y="192"/>
                </a:cubicBezTo>
                <a:cubicBezTo>
                  <a:pt x="77" y="186"/>
                  <a:pt x="77" y="186"/>
                  <a:pt x="77" y="186"/>
                </a:cubicBezTo>
                <a:cubicBezTo>
                  <a:pt x="75" y="186"/>
                  <a:pt x="75" y="186"/>
                  <a:pt x="75" y="186"/>
                </a:cubicBezTo>
                <a:lnTo>
                  <a:pt x="75" y="192"/>
                </a:lnTo>
                <a:close/>
                <a:moveTo>
                  <a:pt x="73" y="58"/>
                </a:moveTo>
                <a:cubicBezTo>
                  <a:pt x="75" y="58"/>
                  <a:pt x="75" y="58"/>
                  <a:pt x="75" y="58"/>
                </a:cubicBezTo>
                <a:cubicBezTo>
                  <a:pt x="75" y="49"/>
                  <a:pt x="75" y="49"/>
                  <a:pt x="75" y="49"/>
                </a:cubicBezTo>
                <a:cubicBezTo>
                  <a:pt x="73" y="49"/>
                  <a:pt x="73" y="49"/>
                  <a:pt x="73" y="49"/>
                </a:cubicBezTo>
                <a:lnTo>
                  <a:pt x="73" y="58"/>
                </a:lnTo>
                <a:close/>
                <a:moveTo>
                  <a:pt x="70" y="100"/>
                </a:moveTo>
                <a:cubicBezTo>
                  <a:pt x="73" y="100"/>
                  <a:pt x="73" y="100"/>
                  <a:pt x="73" y="100"/>
                </a:cubicBezTo>
                <a:cubicBezTo>
                  <a:pt x="73" y="91"/>
                  <a:pt x="73" y="91"/>
                  <a:pt x="73" y="91"/>
                </a:cubicBezTo>
                <a:cubicBezTo>
                  <a:pt x="70" y="91"/>
                  <a:pt x="70" y="91"/>
                  <a:pt x="70" y="91"/>
                </a:cubicBezTo>
                <a:lnTo>
                  <a:pt x="70" y="100"/>
                </a:lnTo>
                <a:close/>
                <a:moveTo>
                  <a:pt x="70" y="86"/>
                </a:moveTo>
                <a:cubicBezTo>
                  <a:pt x="73" y="86"/>
                  <a:pt x="73" y="86"/>
                  <a:pt x="73" y="86"/>
                </a:cubicBezTo>
                <a:cubicBezTo>
                  <a:pt x="73" y="78"/>
                  <a:pt x="73" y="78"/>
                  <a:pt x="73" y="78"/>
                </a:cubicBezTo>
                <a:cubicBezTo>
                  <a:pt x="70" y="78"/>
                  <a:pt x="70" y="78"/>
                  <a:pt x="70" y="78"/>
                </a:cubicBezTo>
                <a:lnTo>
                  <a:pt x="70" y="86"/>
                </a:lnTo>
                <a:close/>
                <a:moveTo>
                  <a:pt x="61" y="166"/>
                </a:moveTo>
                <a:cubicBezTo>
                  <a:pt x="64" y="166"/>
                  <a:pt x="64" y="166"/>
                  <a:pt x="64" y="166"/>
                </a:cubicBezTo>
                <a:cubicBezTo>
                  <a:pt x="64" y="159"/>
                  <a:pt x="64" y="159"/>
                  <a:pt x="64" y="159"/>
                </a:cubicBezTo>
                <a:cubicBezTo>
                  <a:pt x="61" y="159"/>
                  <a:pt x="61" y="159"/>
                  <a:pt x="61" y="159"/>
                </a:cubicBezTo>
                <a:lnTo>
                  <a:pt x="61" y="166"/>
                </a:lnTo>
                <a:close/>
                <a:moveTo>
                  <a:pt x="61" y="144"/>
                </a:moveTo>
                <a:cubicBezTo>
                  <a:pt x="64" y="144"/>
                  <a:pt x="64" y="144"/>
                  <a:pt x="64" y="144"/>
                </a:cubicBezTo>
                <a:cubicBezTo>
                  <a:pt x="64" y="135"/>
                  <a:pt x="64" y="135"/>
                  <a:pt x="64" y="135"/>
                </a:cubicBezTo>
                <a:cubicBezTo>
                  <a:pt x="61" y="135"/>
                  <a:pt x="61" y="135"/>
                  <a:pt x="61" y="135"/>
                </a:cubicBezTo>
                <a:lnTo>
                  <a:pt x="61" y="144"/>
                </a:lnTo>
                <a:close/>
                <a:moveTo>
                  <a:pt x="59" y="292"/>
                </a:moveTo>
                <a:cubicBezTo>
                  <a:pt x="61" y="292"/>
                  <a:pt x="61" y="292"/>
                  <a:pt x="61" y="292"/>
                </a:cubicBezTo>
                <a:cubicBezTo>
                  <a:pt x="61" y="285"/>
                  <a:pt x="61" y="285"/>
                  <a:pt x="61" y="285"/>
                </a:cubicBezTo>
                <a:cubicBezTo>
                  <a:pt x="59" y="285"/>
                  <a:pt x="59" y="285"/>
                  <a:pt x="59" y="285"/>
                </a:cubicBezTo>
                <a:lnTo>
                  <a:pt x="59" y="292"/>
                </a:lnTo>
                <a:close/>
                <a:moveTo>
                  <a:pt x="59" y="268"/>
                </a:moveTo>
                <a:cubicBezTo>
                  <a:pt x="61" y="268"/>
                  <a:pt x="61" y="268"/>
                  <a:pt x="61" y="268"/>
                </a:cubicBezTo>
                <a:cubicBezTo>
                  <a:pt x="61" y="261"/>
                  <a:pt x="61" y="261"/>
                  <a:pt x="61" y="261"/>
                </a:cubicBezTo>
                <a:cubicBezTo>
                  <a:pt x="59" y="261"/>
                  <a:pt x="59" y="261"/>
                  <a:pt x="59" y="261"/>
                </a:cubicBezTo>
                <a:lnTo>
                  <a:pt x="59" y="268"/>
                </a:lnTo>
                <a:close/>
                <a:moveTo>
                  <a:pt x="59" y="219"/>
                </a:moveTo>
                <a:cubicBezTo>
                  <a:pt x="61" y="219"/>
                  <a:pt x="61" y="219"/>
                  <a:pt x="61" y="219"/>
                </a:cubicBezTo>
                <a:cubicBezTo>
                  <a:pt x="61" y="210"/>
                  <a:pt x="61" y="210"/>
                  <a:pt x="61" y="210"/>
                </a:cubicBezTo>
                <a:cubicBezTo>
                  <a:pt x="59" y="210"/>
                  <a:pt x="59" y="210"/>
                  <a:pt x="59" y="210"/>
                </a:cubicBezTo>
                <a:lnTo>
                  <a:pt x="59" y="219"/>
                </a:lnTo>
                <a:close/>
                <a:moveTo>
                  <a:pt x="59" y="100"/>
                </a:moveTo>
                <a:cubicBezTo>
                  <a:pt x="61" y="100"/>
                  <a:pt x="61" y="100"/>
                  <a:pt x="61" y="100"/>
                </a:cubicBezTo>
                <a:cubicBezTo>
                  <a:pt x="61" y="91"/>
                  <a:pt x="61" y="91"/>
                  <a:pt x="61" y="91"/>
                </a:cubicBezTo>
                <a:cubicBezTo>
                  <a:pt x="59" y="91"/>
                  <a:pt x="59" y="91"/>
                  <a:pt x="59" y="91"/>
                </a:cubicBezTo>
                <a:lnTo>
                  <a:pt x="59" y="100"/>
                </a:lnTo>
                <a:close/>
                <a:moveTo>
                  <a:pt x="59" y="86"/>
                </a:moveTo>
                <a:cubicBezTo>
                  <a:pt x="61" y="86"/>
                  <a:pt x="61" y="86"/>
                  <a:pt x="61" y="86"/>
                </a:cubicBezTo>
                <a:cubicBezTo>
                  <a:pt x="61" y="78"/>
                  <a:pt x="61" y="78"/>
                  <a:pt x="61" y="78"/>
                </a:cubicBezTo>
                <a:cubicBezTo>
                  <a:pt x="59" y="78"/>
                  <a:pt x="59" y="78"/>
                  <a:pt x="59" y="78"/>
                </a:cubicBezTo>
                <a:lnTo>
                  <a:pt x="59" y="86"/>
                </a:lnTo>
                <a:close/>
                <a:moveTo>
                  <a:pt x="50" y="144"/>
                </a:moveTo>
                <a:cubicBezTo>
                  <a:pt x="55" y="144"/>
                  <a:pt x="55" y="144"/>
                  <a:pt x="55" y="144"/>
                </a:cubicBezTo>
                <a:cubicBezTo>
                  <a:pt x="55" y="135"/>
                  <a:pt x="55" y="135"/>
                  <a:pt x="55" y="135"/>
                </a:cubicBezTo>
                <a:cubicBezTo>
                  <a:pt x="50" y="135"/>
                  <a:pt x="50" y="135"/>
                  <a:pt x="50" y="135"/>
                </a:cubicBezTo>
                <a:lnTo>
                  <a:pt x="50" y="144"/>
                </a:lnTo>
                <a:close/>
                <a:moveTo>
                  <a:pt x="48" y="86"/>
                </a:moveTo>
                <a:cubicBezTo>
                  <a:pt x="50" y="86"/>
                  <a:pt x="50" y="86"/>
                  <a:pt x="50" y="86"/>
                </a:cubicBezTo>
                <a:cubicBezTo>
                  <a:pt x="50" y="78"/>
                  <a:pt x="50" y="78"/>
                  <a:pt x="50" y="78"/>
                </a:cubicBezTo>
                <a:cubicBezTo>
                  <a:pt x="48" y="78"/>
                  <a:pt x="48" y="78"/>
                  <a:pt x="48" y="78"/>
                </a:cubicBezTo>
                <a:lnTo>
                  <a:pt x="48" y="86"/>
                </a:lnTo>
                <a:close/>
                <a:moveTo>
                  <a:pt x="48" y="58"/>
                </a:moveTo>
                <a:cubicBezTo>
                  <a:pt x="50" y="58"/>
                  <a:pt x="50" y="58"/>
                  <a:pt x="50" y="58"/>
                </a:cubicBezTo>
                <a:cubicBezTo>
                  <a:pt x="50" y="49"/>
                  <a:pt x="50" y="49"/>
                  <a:pt x="50" y="49"/>
                </a:cubicBezTo>
                <a:cubicBezTo>
                  <a:pt x="48" y="49"/>
                  <a:pt x="48" y="49"/>
                  <a:pt x="48" y="49"/>
                </a:cubicBezTo>
                <a:lnTo>
                  <a:pt x="48" y="58"/>
                </a:lnTo>
                <a:close/>
                <a:moveTo>
                  <a:pt x="44" y="292"/>
                </a:moveTo>
                <a:cubicBezTo>
                  <a:pt x="46" y="292"/>
                  <a:pt x="46" y="292"/>
                  <a:pt x="46" y="292"/>
                </a:cubicBezTo>
                <a:cubicBezTo>
                  <a:pt x="46" y="285"/>
                  <a:pt x="46" y="285"/>
                  <a:pt x="46" y="285"/>
                </a:cubicBezTo>
                <a:cubicBezTo>
                  <a:pt x="44" y="285"/>
                  <a:pt x="44" y="285"/>
                  <a:pt x="44" y="285"/>
                </a:cubicBezTo>
                <a:lnTo>
                  <a:pt x="44" y="292"/>
                </a:lnTo>
                <a:close/>
                <a:moveTo>
                  <a:pt x="44" y="268"/>
                </a:moveTo>
                <a:cubicBezTo>
                  <a:pt x="46" y="268"/>
                  <a:pt x="46" y="268"/>
                  <a:pt x="46" y="268"/>
                </a:cubicBezTo>
                <a:cubicBezTo>
                  <a:pt x="46" y="261"/>
                  <a:pt x="46" y="261"/>
                  <a:pt x="46" y="261"/>
                </a:cubicBezTo>
                <a:cubicBezTo>
                  <a:pt x="44" y="261"/>
                  <a:pt x="44" y="261"/>
                  <a:pt x="44" y="261"/>
                </a:cubicBezTo>
                <a:lnTo>
                  <a:pt x="44" y="268"/>
                </a:lnTo>
                <a:close/>
                <a:moveTo>
                  <a:pt x="44" y="243"/>
                </a:moveTo>
                <a:cubicBezTo>
                  <a:pt x="46" y="243"/>
                  <a:pt x="46" y="243"/>
                  <a:pt x="46" y="243"/>
                </a:cubicBezTo>
                <a:cubicBezTo>
                  <a:pt x="46" y="236"/>
                  <a:pt x="46" y="236"/>
                  <a:pt x="46" y="236"/>
                </a:cubicBezTo>
                <a:cubicBezTo>
                  <a:pt x="44" y="236"/>
                  <a:pt x="44" y="236"/>
                  <a:pt x="44" y="236"/>
                </a:cubicBezTo>
                <a:lnTo>
                  <a:pt x="44" y="243"/>
                </a:lnTo>
                <a:close/>
                <a:moveTo>
                  <a:pt x="44" y="219"/>
                </a:moveTo>
                <a:cubicBezTo>
                  <a:pt x="46" y="219"/>
                  <a:pt x="46" y="219"/>
                  <a:pt x="46" y="219"/>
                </a:cubicBezTo>
                <a:cubicBezTo>
                  <a:pt x="46" y="210"/>
                  <a:pt x="46" y="210"/>
                  <a:pt x="46" y="210"/>
                </a:cubicBezTo>
                <a:cubicBezTo>
                  <a:pt x="44" y="210"/>
                  <a:pt x="44" y="210"/>
                  <a:pt x="44" y="210"/>
                </a:cubicBezTo>
                <a:lnTo>
                  <a:pt x="44" y="219"/>
                </a:lnTo>
                <a:close/>
                <a:moveTo>
                  <a:pt x="44" y="192"/>
                </a:moveTo>
                <a:cubicBezTo>
                  <a:pt x="46" y="192"/>
                  <a:pt x="46" y="192"/>
                  <a:pt x="46" y="192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4" y="186"/>
                  <a:pt x="44" y="186"/>
                  <a:pt x="44" y="186"/>
                </a:cubicBezTo>
                <a:lnTo>
                  <a:pt x="44" y="192"/>
                </a:lnTo>
                <a:close/>
                <a:moveTo>
                  <a:pt x="44" y="166"/>
                </a:moveTo>
                <a:cubicBezTo>
                  <a:pt x="46" y="166"/>
                  <a:pt x="46" y="166"/>
                  <a:pt x="46" y="166"/>
                </a:cubicBezTo>
                <a:cubicBezTo>
                  <a:pt x="46" y="159"/>
                  <a:pt x="46" y="159"/>
                  <a:pt x="46" y="159"/>
                </a:cubicBezTo>
                <a:cubicBezTo>
                  <a:pt x="44" y="159"/>
                  <a:pt x="44" y="159"/>
                  <a:pt x="44" y="159"/>
                </a:cubicBezTo>
                <a:lnTo>
                  <a:pt x="44" y="166"/>
                </a:lnTo>
                <a:close/>
                <a:moveTo>
                  <a:pt x="42" y="128"/>
                </a:moveTo>
                <a:cubicBezTo>
                  <a:pt x="44" y="128"/>
                  <a:pt x="44" y="128"/>
                  <a:pt x="44" y="128"/>
                </a:cubicBezTo>
                <a:cubicBezTo>
                  <a:pt x="44" y="120"/>
                  <a:pt x="44" y="120"/>
                  <a:pt x="44" y="120"/>
                </a:cubicBezTo>
                <a:cubicBezTo>
                  <a:pt x="42" y="120"/>
                  <a:pt x="42" y="120"/>
                  <a:pt x="42" y="120"/>
                </a:cubicBezTo>
                <a:lnTo>
                  <a:pt x="42" y="128"/>
                </a:lnTo>
                <a:close/>
                <a:moveTo>
                  <a:pt x="29" y="292"/>
                </a:moveTo>
                <a:cubicBezTo>
                  <a:pt x="33" y="292"/>
                  <a:pt x="33" y="292"/>
                  <a:pt x="33" y="292"/>
                </a:cubicBezTo>
                <a:cubicBezTo>
                  <a:pt x="33" y="285"/>
                  <a:pt x="33" y="285"/>
                  <a:pt x="33" y="285"/>
                </a:cubicBezTo>
                <a:cubicBezTo>
                  <a:pt x="29" y="285"/>
                  <a:pt x="29" y="285"/>
                  <a:pt x="29" y="285"/>
                </a:cubicBezTo>
                <a:lnTo>
                  <a:pt x="29" y="292"/>
                </a:lnTo>
                <a:close/>
                <a:moveTo>
                  <a:pt x="29" y="268"/>
                </a:moveTo>
                <a:cubicBezTo>
                  <a:pt x="33" y="268"/>
                  <a:pt x="33" y="268"/>
                  <a:pt x="33" y="268"/>
                </a:cubicBezTo>
                <a:cubicBezTo>
                  <a:pt x="33" y="261"/>
                  <a:pt x="33" y="261"/>
                  <a:pt x="33" y="261"/>
                </a:cubicBezTo>
                <a:cubicBezTo>
                  <a:pt x="29" y="261"/>
                  <a:pt x="29" y="261"/>
                  <a:pt x="29" y="261"/>
                </a:cubicBezTo>
                <a:lnTo>
                  <a:pt x="29" y="268"/>
                </a:lnTo>
                <a:close/>
                <a:moveTo>
                  <a:pt x="29" y="243"/>
                </a:moveTo>
                <a:cubicBezTo>
                  <a:pt x="33" y="243"/>
                  <a:pt x="33" y="243"/>
                  <a:pt x="33" y="243"/>
                </a:cubicBezTo>
                <a:cubicBezTo>
                  <a:pt x="33" y="236"/>
                  <a:pt x="33" y="236"/>
                  <a:pt x="33" y="236"/>
                </a:cubicBezTo>
                <a:cubicBezTo>
                  <a:pt x="29" y="236"/>
                  <a:pt x="29" y="236"/>
                  <a:pt x="29" y="236"/>
                </a:cubicBezTo>
                <a:lnTo>
                  <a:pt x="29" y="243"/>
                </a:lnTo>
                <a:close/>
                <a:moveTo>
                  <a:pt x="29" y="219"/>
                </a:moveTo>
                <a:cubicBezTo>
                  <a:pt x="33" y="219"/>
                  <a:pt x="33" y="219"/>
                  <a:pt x="33" y="219"/>
                </a:cubicBezTo>
                <a:cubicBezTo>
                  <a:pt x="33" y="210"/>
                  <a:pt x="33" y="210"/>
                  <a:pt x="33" y="210"/>
                </a:cubicBezTo>
                <a:cubicBezTo>
                  <a:pt x="29" y="210"/>
                  <a:pt x="29" y="210"/>
                  <a:pt x="29" y="210"/>
                </a:cubicBezTo>
                <a:lnTo>
                  <a:pt x="29" y="219"/>
                </a:lnTo>
                <a:close/>
                <a:moveTo>
                  <a:pt x="29" y="192"/>
                </a:moveTo>
                <a:cubicBezTo>
                  <a:pt x="33" y="192"/>
                  <a:pt x="33" y="192"/>
                  <a:pt x="33" y="192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29" y="186"/>
                  <a:pt x="29" y="186"/>
                  <a:pt x="29" y="186"/>
                </a:cubicBezTo>
                <a:lnTo>
                  <a:pt x="29" y="192"/>
                </a:lnTo>
                <a:close/>
                <a:moveTo>
                  <a:pt x="19" y="290"/>
                </a:moveTo>
                <a:cubicBezTo>
                  <a:pt x="19" y="176"/>
                  <a:pt x="19" y="176"/>
                  <a:pt x="19" y="176"/>
                </a:cubicBezTo>
                <a:cubicBezTo>
                  <a:pt x="36" y="176"/>
                  <a:pt x="36" y="176"/>
                  <a:pt x="36" y="176"/>
                </a:cubicBezTo>
                <a:cubicBezTo>
                  <a:pt x="36" y="73"/>
                  <a:pt x="36" y="73"/>
                  <a:pt x="36" y="73"/>
                </a:cubicBezTo>
                <a:cubicBezTo>
                  <a:pt x="43" y="67"/>
                  <a:pt x="43" y="67"/>
                  <a:pt x="43" y="67"/>
                </a:cubicBezTo>
                <a:cubicBezTo>
                  <a:pt x="43" y="39"/>
                  <a:pt x="43" y="39"/>
                  <a:pt x="43" y="39"/>
                </a:cubicBezTo>
                <a:cubicBezTo>
                  <a:pt x="63" y="39"/>
                  <a:pt x="63" y="39"/>
                  <a:pt x="63" y="39"/>
                </a:cubicBezTo>
                <a:cubicBezTo>
                  <a:pt x="63" y="23"/>
                  <a:pt x="63" y="23"/>
                  <a:pt x="63" y="23"/>
                </a:cubicBezTo>
                <a:cubicBezTo>
                  <a:pt x="76" y="23"/>
                  <a:pt x="76" y="23"/>
                  <a:pt x="76" y="23"/>
                </a:cubicBezTo>
                <a:cubicBezTo>
                  <a:pt x="76" y="39"/>
                  <a:pt x="76" y="39"/>
                  <a:pt x="76" y="39"/>
                </a:cubicBezTo>
                <a:cubicBezTo>
                  <a:pt x="96" y="39"/>
                  <a:pt x="96" y="39"/>
                  <a:pt x="96" y="39"/>
                </a:cubicBezTo>
                <a:cubicBezTo>
                  <a:pt x="96" y="67"/>
                  <a:pt x="96" y="67"/>
                  <a:pt x="96" y="67"/>
                </a:cubicBezTo>
                <a:cubicBezTo>
                  <a:pt x="102" y="73"/>
                  <a:pt x="102" y="73"/>
                  <a:pt x="102" y="73"/>
                </a:cubicBezTo>
                <a:cubicBezTo>
                  <a:pt x="102" y="176"/>
                  <a:pt x="102" y="176"/>
                  <a:pt x="102" y="176"/>
                </a:cubicBezTo>
                <a:cubicBezTo>
                  <a:pt x="120" y="176"/>
                  <a:pt x="120" y="176"/>
                  <a:pt x="120" y="176"/>
                </a:cubicBezTo>
                <a:cubicBezTo>
                  <a:pt x="120" y="289"/>
                  <a:pt x="120" y="289"/>
                  <a:pt x="120" y="289"/>
                </a:cubicBezTo>
                <a:cubicBezTo>
                  <a:pt x="137" y="289"/>
                  <a:pt x="137" y="289"/>
                  <a:pt x="137" y="289"/>
                </a:cubicBezTo>
                <a:cubicBezTo>
                  <a:pt x="136" y="286"/>
                  <a:pt x="136" y="280"/>
                  <a:pt x="137" y="272"/>
                </a:cubicBezTo>
                <a:cubicBezTo>
                  <a:pt x="137" y="264"/>
                  <a:pt x="137" y="255"/>
                  <a:pt x="137" y="246"/>
                </a:cubicBezTo>
                <a:cubicBezTo>
                  <a:pt x="137" y="236"/>
                  <a:pt x="137" y="225"/>
                  <a:pt x="137" y="214"/>
                </a:cubicBezTo>
                <a:cubicBezTo>
                  <a:pt x="137" y="203"/>
                  <a:pt x="137" y="193"/>
                  <a:pt x="138" y="183"/>
                </a:cubicBezTo>
                <a:cubicBezTo>
                  <a:pt x="138" y="173"/>
                  <a:pt x="138" y="165"/>
                  <a:pt x="138" y="157"/>
                </a:cubicBezTo>
                <a:cubicBezTo>
                  <a:pt x="138" y="149"/>
                  <a:pt x="139" y="143"/>
                  <a:pt x="139" y="139"/>
                </a:cubicBezTo>
                <a:cubicBezTo>
                  <a:pt x="139" y="135"/>
                  <a:pt x="139" y="128"/>
                  <a:pt x="140" y="120"/>
                </a:cubicBezTo>
                <a:cubicBezTo>
                  <a:pt x="141" y="112"/>
                  <a:pt x="142" y="104"/>
                  <a:pt x="142" y="94"/>
                </a:cubicBezTo>
                <a:cubicBezTo>
                  <a:pt x="143" y="85"/>
                  <a:pt x="144" y="76"/>
                  <a:pt x="145" y="67"/>
                </a:cubicBezTo>
                <a:cubicBezTo>
                  <a:pt x="146" y="57"/>
                  <a:pt x="147" y="48"/>
                  <a:pt x="148" y="40"/>
                </a:cubicBezTo>
                <a:cubicBezTo>
                  <a:pt x="149" y="32"/>
                  <a:pt x="150" y="26"/>
                  <a:pt x="150" y="20"/>
                </a:cubicBezTo>
                <a:cubicBezTo>
                  <a:pt x="151" y="14"/>
                  <a:pt x="151" y="11"/>
                  <a:pt x="152" y="9"/>
                </a:cubicBezTo>
                <a:cubicBezTo>
                  <a:pt x="154" y="0"/>
                  <a:pt x="154" y="0"/>
                  <a:pt x="154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96" y="174"/>
                  <a:pt x="196" y="174"/>
                  <a:pt x="196" y="174"/>
                </a:cubicBezTo>
                <a:cubicBezTo>
                  <a:pt x="224" y="174"/>
                  <a:pt x="224" y="174"/>
                  <a:pt x="224" y="174"/>
                </a:cubicBezTo>
                <a:cubicBezTo>
                  <a:pt x="224" y="188"/>
                  <a:pt x="224" y="188"/>
                  <a:pt x="224" y="188"/>
                </a:cubicBezTo>
                <a:cubicBezTo>
                  <a:pt x="258" y="188"/>
                  <a:pt x="258" y="188"/>
                  <a:pt x="258" y="188"/>
                </a:cubicBezTo>
                <a:cubicBezTo>
                  <a:pt x="258" y="188"/>
                  <a:pt x="259" y="188"/>
                  <a:pt x="259" y="187"/>
                </a:cubicBezTo>
                <a:cubicBezTo>
                  <a:pt x="260" y="187"/>
                  <a:pt x="260" y="186"/>
                  <a:pt x="260" y="186"/>
                </a:cubicBezTo>
                <a:cubicBezTo>
                  <a:pt x="260" y="185"/>
                  <a:pt x="261" y="184"/>
                  <a:pt x="262" y="182"/>
                </a:cubicBezTo>
                <a:cubicBezTo>
                  <a:pt x="263" y="180"/>
                  <a:pt x="265" y="177"/>
                  <a:pt x="266" y="175"/>
                </a:cubicBezTo>
                <a:cubicBezTo>
                  <a:pt x="267" y="172"/>
                  <a:pt x="268" y="170"/>
                  <a:pt x="269" y="168"/>
                </a:cubicBezTo>
                <a:cubicBezTo>
                  <a:pt x="270" y="166"/>
                  <a:pt x="271" y="164"/>
                  <a:pt x="271" y="164"/>
                </a:cubicBezTo>
                <a:cubicBezTo>
                  <a:pt x="272" y="163"/>
                  <a:pt x="272" y="163"/>
                  <a:pt x="273" y="162"/>
                </a:cubicBezTo>
                <a:cubicBezTo>
                  <a:pt x="273" y="161"/>
                  <a:pt x="273" y="161"/>
                  <a:pt x="274" y="161"/>
                </a:cubicBezTo>
                <a:cubicBezTo>
                  <a:pt x="299" y="161"/>
                  <a:pt x="299" y="161"/>
                  <a:pt x="299" y="161"/>
                </a:cubicBezTo>
                <a:cubicBezTo>
                  <a:pt x="299" y="143"/>
                  <a:pt x="299" y="143"/>
                  <a:pt x="299" y="143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9" y="92"/>
                  <a:pt x="329" y="92"/>
                  <a:pt x="329" y="92"/>
                </a:cubicBezTo>
                <a:cubicBezTo>
                  <a:pt x="352" y="92"/>
                  <a:pt x="352" y="92"/>
                  <a:pt x="352" y="92"/>
                </a:cubicBezTo>
                <a:cubicBezTo>
                  <a:pt x="352" y="60"/>
                  <a:pt x="352" y="60"/>
                  <a:pt x="352" y="60"/>
                </a:cubicBezTo>
                <a:cubicBezTo>
                  <a:pt x="405" y="60"/>
                  <a:pt x="405" y="60"/>
                  <a:pt x="405" y="60"/>
                </a:cubicBezTo>
                <a:cubicBezTo>
                  <a:pt x="405" y="92"/>
                  <a:pt x="405" y="92"/>
                  <a:pt x="405" y="92"/>
                </a:cubicBezTo>
                <a:cubicBezTo>
                  <a:pt x="427" y="92"/>
                  <a:pt x="427" y="92"/>
                  <a:pt x="427" y="92"/>
                </a:cubicBezTo>
                <a:cubicBezTo>
                  <a:pt x="427" y="143"/>
                  <a:pt x="427" y="143"/>
                  <a:pt x="427" y="143"/>
                </a:cubicBezTo>
                <a:cubicBezTo>
                  <a:pt x="457" y="143"/>
                  <a:pt x="457" y="143"/>
                  <a:pt x="457" y="143"/>
                </a:cubicBezTo>
                <a:cubicBezTo>
                  <a:pt x="461" y="305"/>
                  <a:pt x="461" y="305"/>
                  <a:pt x="461" y="305"/>
                </a:cubicBezTo>
                <a:cubicBezTo>
                  <a:pt x="489" y="305"/>
                  <a:pt x="489" y="305"/>
                  <a:pt x="489" y="305"/>
                </a:cubicBezTo>
                <a:cubicBezTo>
                  <a:pt x="489" y="119"/>
                  <a:pt x="489" y="119"/>
                  <a:pt x="489" y="119"/>
                </a:cubicBezTo>
                <a:cubicBezTo>
                  <a:pt x="509" y="119"/>
                  <a:pt x="509" y="119"/>
                  <a:pt x="509" y="119"/>
                </a:cubicBezTo>
                <a:cubicBezTo>
                  <a:pt x="509" y="11"/>
                  <a:pt x="509" y="11"/>
                  <a:pt x="509" y="11"/>
                </a:cubicBezTo>
                <a:cubicBezTo>
                  <a:pt x="543" y="11"/>
                  <a:pt x="543" y="11"/>
                  <a:pt x="543" y="11"/>
                </a:cubicBezTo>
                <a:cubicBezTo>
                  <a:pt x="543" y="336"/>
                  <a:pt x="543" y="336"/>
                  <a:pt x="543" y="336"/>
                </a:cubicBezTo>
                <a:cubicBezTo>
                  <a:pt x="0" y="336"/>
                  <a:pt x="0" y="336"/>
                  <a:pt x="0" y="336"/>
                </a:cubicBezTo>
                <a:cubicBezTo>
                  <a:pt x="0" y="290"/>
                  <a:pt x="0" y="290"/>
                  <a:pt x="0" y="290"/>
                </a:cubicBezTo>
                <a:lnTo>
                  <a:pt x="19" y="29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Plain_Title &amp; Content">
  <p:cSld name="Blue Plain_Title &amp; Content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Shape 469"/>
          <p:cNvSpPr/>
          <p:nvPr/>
        </p:nvSpPr>
        <p:spPr>
          <a:xfrm>
            <a:off x="0" y="6618514"/>
            <a:ext cx="9144000" cy="253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470" name="Shape 470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1" name="Shape 471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3794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472" name="Shape 472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3" name="Shape 473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74" name="Shape 474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475" name="Shape 475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476" name="Shape 476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Balloons_Title &amp; Content">
  <p:cSld name="Blue Balloons_Title &amp; Content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Shape 478"/>
          <p:cNvSpPr/>
          <p:nvPr/>
        </p:nvSpPr>
        <p:spPr>
          <a:xfrm>
            <a:off x="6235700" y="3492532"/>
            <a:ext cx="2920999" cy="3365466"/>
          </a:xfrm>
          <a:custGeom>
            <a:avLst/>
            <a:gdLst/>
            <a:ahLst/>
            <a:cxnLst/>
            <a:rect l="0" t="0" r="0" b="0"/>
            <a:pathLst>
              <a:path w="1586" h="1827" extrusionOk="0">
                <a:moveTo>
                  <a:pt x="935" y="1133"/>
                </a:moveTo>
                <a:cubicBezTo>
                  <a:pt x="661" y="1434"/>
                  <a:pt x="341" y="1666"/>
                  <a:pt x="0" y="1827"/>
                </a:cubicBezTo>
                <a:cubicBezTo>
                  <a:pt x="1586" y="1827"/>
                  <a:pt x="1586" y="1827"/>
                  <a:pt x="1586" y="1827"/>
                </a:cubicBezTo>
                <a:cubicBezTo>
                  <a:pt x="1586" y="0"/>
                  <a:pt x="1586" y="0"/>
                  <a:pt x="1586" y="0"/>
                </a:cubicBezTo>
                <a:cubicBezTo>
                  <a:pt x="1462" y="403"/>
                  <a:pt x="1245" y="792"/>
                  <a:pt x="935" y="1133"/>
                </a:cubicBezTo>
                <a:close/>
              </a:path>
            </a:pathLst>
          </a:custGeom>
          <a:solidFill>
            <a:srgbClr val="C7D8EF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479" name="Shape 479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</a:defRPr>
            </a:lvl1pPr>
            <a:lvl2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0" name="Shape 480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518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/>
            </a:lvl1pPr>
            <a:lvl2pPr rtl="0">
              <a:defRPr/>
            </a:lvl2pPr>
            <a:lvl3pPr marL="458788" indent="-230187" rtl="0">
              <a:defRPr/>
            </a:lvl3pPr>
            <a:lvl4pPr marL="684213" indent="-227012" rtl="0">
              <a:defRPr/>
            </a:lvl4pPr>
            <a:lvl5pPr marL="912813" indent="-227012"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481" name="Shape 481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82" name="Shape 482"/>
          <p:cNvGrpSpPr/>
          <p:nvPr/>
        </p:nvGrpSpPr>
        <p:grpSpPr>
          <a:xfrm>
            <a:off x="7378700" y="5090682"/>
            <a:ext cx="975784" cy="1521210"/>
            <a:chOff x="600512" y="922996"/>
            <a:chExt cx="1555459" cy="2424902"/>
          </a:xfrm>
        </p:grpSpPr>
        <p:sp>
          <p:nvSpPr>
            <p:cNvPr id="483" name="Shape 483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84" name="Shape 484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85" name="Shape 485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486" name="Shape 486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87" name="Shape 487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88" name="Shape 488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</p:grpSp>
      <p:grpSp>
        <p:nvGrpSpPr>
          <p:cNvPr id="489" name="Shape 489"/>
          <p:cNvGrpSpPr/>
          <p:nvPr/>
        </p:nvGrpSpPr>
        <p:grpSpPr>
          <a:xfrm>
            <a:off x="8318634" y="4726718"/>
            <a:ext cx="676906" cy="1055270"/>
            <a:chOff x="600512" y="922996"/>
            <a:chExt cx="1555459" cy="2424902"/>
          </a:xfrm>
        </p:grpSpPr>
        <p:sp>
          <p:nvSpPr>
            <p:cNvPr id="490" name="Shape 490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91" name="Shape 491"/>
            <p:cNvSpPr/>
            <p:nvPr/>
          </p:nvSpPr>
          <p:spPr>
            <a:xfrm>
              <a:off x="1224162" y="3105776"/>
              <a:ext cx="306323" cy="242123"/>
            </a:xfrm>
            <a:custGeom>
              <a:avLst/>
              <a:gdLst/>
              <a:ahLst/>
              <a:cxnLst/>
              <a:rect l="0" t="0" r="0" b="0"/>
              <a:pathLst>
                <a:path w="71" h="56" extrusionOk="0">
                  <a:moveTo>
                    <a:pt x="63" y="53"/>
                  </a:moveTo>
                  <a:cubicBezTo>
                    <a:pt x="63" y="55"/>
                    <a:pt x="61" y="56"/>
                    <a:pt x="6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6"/>
                    <a:pt x="9" y="55"/>
                    <a:pt x="9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1"/>
                    <a:pt x="71" y="2"/>
                  </a:cubicBezTo>
                  <a:lnTo>
                    <a:pt x="63" y="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92" name="Shape 492"/>
            <p:cNvSpPr/>
            <p:nvPr/>
          </p:nvSpPr>
          <p:spPr>
            <a:xfrm>
              <a:off x="600512" y="922996"/>
              <a:ext cx="1555459" cy="1905806"/>
            </a:xfrm>
            <a:custGeom>
              <a:avLst/>
              <a:gdLst/>
              <a:ahLst/>
              <a:cxnLst/>
              <a:rect l="0" t="0" r="0" b="0"/>
              <a:pathLst>
                <a:path w="359" h="440" extrusionOk="0">
                  <a:moveTo>
                    <a:pt x="177" y="440"/>
                  </a:moveTo>
                  <a:cubicBezTo>
                    <a:pt x="137" y="440"/>
                    <a:pt x="137" y="440"/>
                    <a:pt x="137" y="440"/>
                  </a:cubicBezTo>
                  <a:cubicBezTo>
                    <a:pt x="120" y="440"/>
                    <a:pt x="116" y="424"/>
                    <a:pt x="116" y="409"/>
                  </a:cubicBezTo>
                  <a:cubicBezTo>
                    <a:pt x="116" y="333"/>
                    <a:pt x="0" y="294"/>
                    <a:pt x="0" y="180"/>
                  </a:cubicBezTo>
                  <a:cubicBezTo>
                    <a:pt x="0" y="81"/>
                    <a:pt x="80" y="0"/>
                    <a:pt x="180" y="0"/>
                  </a:cubicBezTo>
                  <a:cubicBezTo>
                    <a:pt x="279" y="0"/>
                    <a:pt x="359" y="81"/>
                    <a:pt x="359" y="180"/>
                  </a:cubicBezTo>
                  <a:cubicBezTo>
                    <a:pt x="359" y="294"/>
                    <a:pt x="244" y="333"/>
                    <a:pt x="244" y="409"/>
                  </a:cubicBezTo>
                  <a:cubicBezTo>
                    <a:pt x="244" y="424"/>
                    <a:pt x="240" y="440"/>
                    <a:pt x="222" y="440"/>
                  </a:cubicBezTo>
                  <a:cubicBezTo>
                    <a:pt x="200" y="440"/>
                    <a:pt x="200" y="440"/>
                    <a:pt x="200" y="440"/>
                  </a:cubicBezTo>
                  <a:lnTo>
                    <a:pt x="177" y="4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cxnSp>
          <p:nvCxnSpPr>
            <p:cNvPr id="493" name="Shape 493"/>
            <p:cNvCxnSpPr/>
            <p:nvPr/>
          </p:nvCxnSpPr>
          <p:spPr>
            <a:xfrm>
              <a:off x="1380076" y="2742591"/>
              <a:ext cx="0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94" name="Shape 494"/>
            <p:cNvCxnSpPr/>
            <p:nvPr/>
          </p:nvCxnSpPr>
          <p:spPr>
            <a:xfrm flipH="1">
              <a:off x="1479127" y="2742591"/>
              <a:ext cx="69702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cxnSp>
          <p:nvCxnSpPr>
            <p:cNvPr id="495" name="Shape 495"/>
            <p:cNvCxnSpPr/>
            <p:nvPr/>
          </p:nvCxnSpPr>
          <p:spPr>
            <a:xfrm>
              <a:off x="1205820" y="2742591"/>
              <a:ext cx="69702" cy="376025"/>
            </a:xfrm>
            <a:prstGeom prst="straightConnector1">
              <a:avLst/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</p:cxnSp>
      </p:grpSp>
      <p:grpSp>
        <p:nvGrpSpPr>
          <p:cNvPr id="496" name="Shape 496"/>
          <p:cNvGrpSpPr/>
          <p:nvPr/>
        </p:nvGrpSpPr>
        <p:grpSpPr>
          <a:xfrm>
            <a:off x="7215903" y="6451600"/>
            <a:ext cx="397954" cy="171246"/>
            <a:chOff x="5885228" y="1841146"/>
            <a:chExt cx="1084373" cy="466624"/>
          </a:xfrm>
        </p:grpSpPr>
        <p:sp>
          <p:nvSpPr>
            <p:cNvPr id="497" name="Shape 497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98" name="Shape 498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499" name="Shape 499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0" name="Shape 500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1" name="Shape 501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2" name="Shape 502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503" name="Shape 503"/>
          <p:cNvGrpSpPr/>
          <p:nvPr/>
        </p:nvGrpSpPr>
        <p:grpSpPr>
          <a:xfrm>
            <a:off x="8457226" y="6235700"/>
            <a:ext cx="560747" cy="241300"/>
            <a:chOff x="5885228" y="1841146"/>
            <a:chExt cx="1084373" cy="466624"/>
          </a:xfrm>
        </p:grpSpPr>
        <p:sp>
          <p:nvSpPr>
            <p:cNvPr id="504" name="Shape 504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5" name="Shape 505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6" name="Shape 506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7" name="Shape 507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8" name="Shape 508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09" name="Shape 509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grpSp>
        <p:nvGrpSpPr>
          <p:cNvPr id="510" name="Shape 510"/>
          <p:cNvGrpSpPr/>
          <p:nvPr/>
        </p:nvGrpSpPr>
        <p:grpSpPr>
          <a:xfrm>
            <a:off x="8319448" y="6030582"/>
            <a:ext cx="266266" cy="114578"/>
            <a:chOff x="5885228" y="1841146"/>
            <a:chExt cx="1084373" cy="466624"/>
          </a:xfrm>
        </p:grpSpPr>
        <p:sp>
          <p:nvSpPr>
            <p:cNvPr id="511" name="Shape 511"/>
            <p:cNvSpPr/>
            <p:nvPr/>
          </p:nvSpPr>
          <p:spPr>
            <a:xfrm>
              <a:off x="6179521" y="1841146"/>
              <a:ext cx="463973" cy="466624"/>
            </a:xfrm>
            <a:custGeom>
              <a:avLst/>
              <a:gdLst/>
              <a:ahLst/>
              <a:cxnLst/>
              <a:rect l="0" t="0" r="0" b="0"/>
              <a:pathLst>
                <a:path w="148" h="149" extrusionOk="0">
                  <a:moveTo>
                    <a:pt x="148" y="75"/>
                  </a:moveTo>
                  <a:cubicBezTo>
                    <a:pt x="148" y="116"/>
                    <a:pt x="115" y="149"/>
                    <a:pt x="74" y="149"/>
                  </a:cubicBezTo>
                  <a:cubicBezTo>
                    <a:pt x="33" y="149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12" name="Shape 512"/>
            <p:cNvSpPr/>
            <p:nvPr/>
          </p:nvSpPr>
          <p:spPr>
            <a:xfrm>
              <a:off x="6480441" y="1903450"/>
              <a:ext cx="404320" cy="404320"/>
            </a:xfrm>
            <a:custGeom>
              <a:avLst/>
              <a:gdLst/>
              <a:ahLst/>
              <a:cxnLst/>
              <a:rect l="0" t="0" r="0" b="0"/>
              <a:pathLst>
                <a:path w="129" h="129" extrusionOk="0">
                  <a:moveTo>
                    <a:pt x="129" y="65"/>
                  </a:moveTo>
                  <a:cubicBezTo>
                    <a:pt x="129" y="100"/>
                    <a:pt x="100" y="129"/>
                    <a:pt x="64" y="129"/>
                  </a:cubicBez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5" y="0"/>
                  </a:cubicBezTo>
                  <a:cubicBezTo>
                    <a:pt x="100" y="0"/>
                    <a:pt x="129" y="29"/>
                    <a:pt x="129" y="6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13" name="Shape 513"/>
            <p:cNvSpPr/>
            <p:nvPr/>
          </p:nvSpPr>
          <p:spPr>
            <a:xfrm>
              <a:off x="5967417" y="2022758"/>
              <a:ext cx="285013" cy="285013"/>
            </a:xfrm>
            <a:custGeom>
              <a:avLst/>
              <a:gdLst/>
              <a:ahLst/>
              <a:cxnLst/>
              <a:rect l="0" t="0" r="0" b="0"/>
              <a:pathLst>
                <a:path w="91" h="91" extrusionOk="0">
                  <a:moveTo>
                    <a:pt x="90" y="45"/>
                  </a:moveTo>
                  <a:cubicBezTo>
                    <a:pt x="90" y="70"/>
                    <a:pt x="70" y="91"/>
                    <a:pt x="45" y="91"/>
                  </a:cubicBezTo>
                  <a:cubicBezTo>
                    <a:pt x="20" y="90"/>
                    <a:pt x="0" y="70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0" y="4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14" name="Shape 514"/>
            <p:cNvSpPr/>
            <p:nvPr/>
          </p:nvSpPr>
          <p:spPr>
            <a:xfrm>
              <a:off x="5885228" y="2135438"/>
              <a:ext cx="172333" cy="169681"/>
            </a:xfrm>
            <a:custGeom>
              <a:avLst/>
              <a:gdLst/>
              <a:ahLst/>
              <a:cxnLst/>
              <a:rect l="0" t="0" r="0" b="0"/>
              <a:pathLst>
                <a:path w="55" h="54" extrusionOk="0">
                  <a:moveTo>
                    <a:pt x="55" y="27"/>
                  </a:moveTo>
                  <a:cubicBezTo>
                    <a:pt x="55" y="42"/>
                    <a:pt x="43" y="54"/>
                    <a:pt x="28" y="54"/>
                  </a:cubicBezTo>
                  <a:cubicBezTo>
                    <a:pt x="13" y="54"/>
                    <a:pt x="0" y="42"/>
                    <a:pt x="1" y="27"/>
                  </a:cubicBezTo>
                  <a:cubicBezTo>
                    <a:pt x="1" y="12"/>
                    <a:pt x="13" y="0"/>
                    <a:pt x="28" y="0"/>
                  </a:cubicBez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15" name="Shape 515"/>
            <p:cNvSpPr/>
            <p:nvPr/>
          </p:nvSpPr>
          <p:spPr>
            <a:xfrm>
              <a:off x="6797268" y="2135438"/>
              <a:ext cx="172333" cy="17233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  <p:sp>
          <p:nvSpPr>
            <p:cNvPr id="516" name="Shape 516"/>
            <p:cNvSpPr/>
            <p:nvPr/>
          </p:nvSpPr>
          <p:spPr>
            <a:xfrm>
              <a:off x="5974046" y="2135438"/>
              <a:ext cx="908063" cy="172333"/>
            </a:xfrm>
            <a:custGeom>
              <a:avLst/>
              <a:gdLst/>
              <a:ahLst/>
              <a:cxnLst/>
              <a:rect l="0" t="0" r="0" b="0"/>
              <a:pathLst>
                <a:path w="685" h="130" extrusionOk="0">
                  <a:moveTo>
                    <a:pt x="0" y="128"/>
                  </a:moveTo>
                  <a:lnTo>
                    <a:pt x="685" y="130"/>
                  </a:lnTo>
                  <a:lnTo>
                    <a:pt x="536" y="0"/>
                  </a:lnTo>
                  <a:lnTo>
                    <a:pt x="59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/>
            </a:p>
          </p:txBody>
        </p:sp>
      </p:grpSp>
      <p:sp>
        <p:nvSpPr>
          <p:cNvPr id="517" name="Shape 517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518" name="Shape 518"/>
          <p:cNvGrpSpPr/>
          <p:nvPr/>
        </p:nvGrpSpPr>
        <p:grpSpPr>
          <a:xfrm>
            <a:off x="7082971" y="480845"/>
            <a:ext cx="1746477" cy="299295"/>
            <a:chOff x="5192485" y="428775"/>
            <a:chExt cx="3607933" cy="618295"/>
          </a:xfrm>
        </p:grpSpPr>
        <p:sp>
          <p:nvSpPr>
            <p:cNvPr id="519" name="Shape 519"/>
            <p:cNvSpPr/>
            <p:nvPr/>
          </p:nvSpPr>
          <p:spPr>
            <a:xfrm>
              <a:off x="5192485" y="428775"/>
              <a:ext cx="1832429" cy="618295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sp>
        <p:sp>
          <p:nvSpPr>
            <p:cNvPr id="520" name="Shape 520"/>
            <p:cNvSpPr/>
            <p:nvPr/>
          </p:nvSpPr>
          <p:spPr>
            <a:xfrm>
              <a:off x="7030582" y="557212"/>
              <a:ext cx="1769837" cy="28098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</p:grpSp>
      <p:sp>
        <p:nvSpPr>
          <p:cNvPr id="521" name="Shape 521"/>
          <p:cNvSpPr/>
          <p:nvPr/>
        </p:nvSpPr>
        <p:spPr>
          <a:xfrm>
            <a:off x="7567560" y="5287821"/>
            <a:ext cx="593725" cy="506412"/>
          </a:xfrm>
          <a:custGeom>
            <a:avLst/>
            <a:gdLst/>
            <a:ahLst/>
            <a:cxnLst/>
            <a:rect l="0" t="0" r="0" b="0"/>
            <a:pathLst>
              <a:path w="137" h="117" extrusionOk="0">
                <a:moveTo>
                  <a:pt x="89" y="91"/>
                </a:moveTo>
                <a:cubicBezTo>
                  <a:pt x="120" y="91"/>
                  <a:pt x="120" y="91"/>
                  <a:pt x="120" y="91"/>
                </a:cubicBezTo>
                <a:cubicBezTo>
                  <a:pt x="120" y="73"/>
                  <a:pt x="120" y="73"/>
                  <a:pt x="120" y="73"/>
                </a:cubicBezTo>
                <a:cubicBezTo>
                  <a:pt x="89" y="73"/>
                  <a:pt x="89" y="73"/>
                  <a:pt x="89" y="73"/>
                </a:cubicBezTo>
                <a:lnTo>
                  <a:pt x="89" y="91"/>
                </a:lnTo>
                <a:close/>
                <a:moveTo>
                  <a:pt x="52" y="26"/>
                </a:moveTo>
                <a:cubicBezTo>
                  <a:pt x="83" y="26"/>
                  <a:pt x="83" y="26"/>
                  <a:pt x="83" y="26"/>
                </a:cubicBezTo>
                <a:cubicBezTo>
                  <a:pt x="83" y="7"/>
                  <a:pt x="83" y="7"/>
                  <a:pt x="83" y="7"/>
                </a:cubicBezTo>
                <a:cubicBezTo>
                  <a:pt x="52" y="7"/>
                  <a:pt x="52" y="7"/>
                  <a:pt x="52" y="7"/>
                </a:cubicBezTo>
                <a:lnTo>
                  <a:pt x="52" y="26"/>
                </a:lnTo>
                <a:close/>
                <a:moveTo>
                  <a:pt x="15" y="91"/>
                </a:moveTo>
                <a:cubicBezTo>
                  <a:pt x="46" y="91"/>
                  <a:pt x="46" y="91"/>
                  <a:pt x="46" y="91"/>
                </a:cubicBezTo>
                <a:cubicBezTo>
                  <a:pt x="46" y="73"/>
                  <a:pt x="46" y="73"/>
                  <a:pt x="46" y="73"/>
                </a:cubicBezTo>
                <a:cubicBezTo>
                  <a:pt x="15" y="73"/>
                  <a:pt x="15" y="73"/>
                  <a:pt x="15" y="73"/>
                </a:cubicBezTo>
                <a:lnTo>
                  <a:pt x="15" y="91"/>
                </a:lnTo>
                <a:close/>
                <a:moveTo>
                  <a:pt x="88" y="0"/>
                </a:moveTo>
                <a:cubicBezTo>
                  <a:pt x="89" y="0"/>
                  <a:pt x="89" y="0"/>
                  <a:pt x="90" y="1"/>
                </a:cubicBezTo>
                <a:cubicBezTo>
                  <a:pt x="91" y="1"/>
                  <a:pt x="91" y="2"/>
                  <a:pt x="91" y="3"/>
                </a:cubicBezTo>
                <a:cubicBezTo>
                  <a:pt x="91" y="31"/>
                  <a:pt x="91" y="31"/>
                  <a:pt x="91" y="31"/>
                </a:cubicBezTo>
                <a:cubicBezTo>
                  <a:pt x="96" y="41"/>
                  <a:pt x="96" y="41"/>
                  <a:pt x="96" y="41"/>
                </a:cubicBezTo>
                <a:cubicBezTo>
                  <a:pt x="97" y="43"/>
                  <a:pt x="97" y="44"/>
                  <a:pt x="98" y="45"/>
                </a:cubicBezTo>
                <a:cubicBezTo>
                  <a:pt x="100" y="49"/>
                  <a:pt x="99" y="51"/>
                  <a:pt x="96" y="51"/>
                </a:cubicBezTo>
                <a:cubicBezTo>
                  <a:pt x="72" y="51"/>
                  <a:pt x="72" y="51"/>
                  <a:pt x="72" y="51"/>
                </a:cubicBezTo>
                <a:cubicBezTo>
                  <a:pt x="72" y="82"/>
                  <a:pt x="72" y="82"/>
                  <a:pt x="7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68"/>
                  <a:pt x="82" y="68"/>
                  <a:pt x="82" y="68"/>
                </a:cubicBezTo>
                <a:cubicBezTo>
                  <a:pt x="82" y="68"/>
                  <a:pt x="82" y="67"/>
                  <a:pt x="82" y="67"/>
                </a:cubicBezTo>
                <a:cubicBezTo>
                  <a:pt x="83" y="66"/>
                  <a:pt x="84" y="66"/>
                  <a:pt x="84" y="66"/>
                </a:cubicBezTo>
                <a:cubicBezTo>
                  <a:pt x="125" y="66"/>
                  <a:pt x="125" y="66"/>
                  <a:pt x="125" y="66"/>
                </a:cubicBezTo>
                <a:cubicBezTo>
                  <a:pt x="126" y="66"/>
                  <a:pt x="127" y="66"/>
                  <a:pt x="127" y="67"/>
                </a:cubicBezTo>
                <a:cubicBezTo>
                  <a:pt x="128" y="67"/>
                  <a:pt x="128" y="68"/>
                  <a:pt x="128" y="68"/>
                </a:cubicBezTo>
                <a:cubicBezTo>
                  <a:pt x="128" y="97"/>
                  <a:pt x="128" y="97"/>
                  <a:pt x="128" y="97"/>
                </a:cubicBezTo>
                <a:cubicBezTo>
                  <a:pt x="133" y="107"/>
                  <a:pt x="133" y="107"/>
                  <a:pt x="133" y="107"/>
                </a:cubicBezTo>
                <a:cubicBezTo>
                  <a:pt x="134" y="108"/>
                  <a:pt x="135" y="110"/>
                  <a:pt x="135" y="110"/>
                </a:cubicBezTo>
                <a:cubicBezTo>
                  <a:pt x="137" y="115"/>
                  <a:pt x="136" y="117"/>
                  <a:pt x="133" y="117"/>
                </a:cubicBezTo>
                <a:cubicBezTo>
                  <a:pt x="77" y="117"/>
                  <a:pt x="77" y="117"/>
                  <a:pt x="77" y="117"/>
                </a:cubicBezTo>
                <a:cubicBezTo>
                  <a:pt x="76" y="117"/>
                  <a:pt x="75" y="117"/>
                  <a:pt x="75" y="117"/>
                </a:cubicBezTo>
                <a:cubicBezTo>
                  <a:pt x="74" y="117"/>
                  <a:pt x="74" y="116"/>
                  <a:pt x="74" y="116"/>
                </a:cubicBezTo>
                <a:cubicBezTo>
                  <a:pt x="73" y="115"/>
                  <a:pt x="73" y="115"/>
                  <a:pt x="73" y="114"/>
                </a:cubicBezTo>
                <a:cubicBezTo>
                  <a:pt x="73" y="114"/>
                  <a:pt x="74" y="113"/>
                  <a:pt x="74" y="112"/>
                </a:cubicBezTo>
                <a:cubicBezTo>
                  <a:pt x="74" y="112"/>
                  <a:pt x="75" y="111"/>
                  <a:pt x="75" y="110"/>
                </a:cubicBezTo>
                <a:cubicBezTo>
                  <a:pt x="75" y="110"/>
                  <a:pt x="75" y="109"/>
                  <a:pt x="76" y="108"/>
                </a:cubicBezTo>
                <a:cubicBezTo>
                  <a:pt x="76" y="107"/>
                  <a:pt x="77" y="107"/>
                  <a:pt x="77" y="107"/>
                </a:cubicBezTo>
                <a:cubicBezTo>
                  <a:pt x="82" y="97"/>
                  <a:pt x="82" y="97"/>
                  <a:pt x="82" y="97"/>
                </a:cubicBezTo>
                <a:cubicBezTo>
                  <a:pt x="82" y="91"/>
                  <a:pt x="82" y="91"/>
                  <a:pt x="82" y="91"/>
                </a:cubicBezTo>
                <a:cubicBezTo>
                  <a:pt x="54" y="91"/>
                  <a:pt x="54" y="91"/>
                  <a:pt x="54" y="91"/>
                </a:cubicBezTo>
                <a:cubicBezTo>
                  <a:pt x="54" y="97"/>
                  <a:pt x="54" y="97"/>
                  <a:pt x="54" y="97"/>
                </a:cubicBezTo>
                <a:cubicBezTo>
                  <a:pt x="59" y="107"/>
                  <a:pt x="59" y="107"/>
                  <a:pt x="59" y="107"/>
                </a:cubicBezTo>
                <a:cubicBezTo>
                  <a:pt x="60" y="108"/>
                  <a:pt x="61" y="110"/>
                  <a:pt x="61" y="110"/>
                </a:cubicBezTo>
                <a:cubicBezTo>
                  <a:pt x="63" y="115"/>
                  <a:pt x="63" y="117"/>
                  <a:pt x="59" y="117"/>
                </a:cubicBezTo>
                <a:cubicBezTo>
                  <a:pt x="3" y="117"/>
                  <a:pt x="3" y="117"/>
                  <a:pt x="3" y="117"/>
                </a:cubicBezTo>
                <a:cubicBezTo>
                  <a:pt x="2" y="117"/>
                  <a:pt x="1" y="117"/>
                  <a:pt x="1" y="117"/>
                </a:cubicBezTo>
                <a:cubicBezTo>
                  <a:pt x="0" y="117"/>
                  <a:pt x="0" y="116"/>
                  <a:pt x="0" y="116"/>
                </a:cubicBezTo>
                <a:cubicBezTo>
                  <a:pt x="0" y="115"/>
                  <a:pt x="0" y="115"/>
                  <a:pt x="0" y="114"/>
                </a:cubicBezTo>
                <a:cubicBezTo>
                  <a:pt x="0" y="114"/>
                  <a:pt x="0" y="113"/>
                  <a:pt x="0" y="112"/>
                </a:cubicBezTo>
                <a:cubicBezTo>
                  <a:pt x="0" y="112"/>
                  <a:pt x="1" y="111"/>
                  <a:pt x="1" y="110"/>
                </a:cubicBezTo>
                <a:cubicBezTo>
                  <a:pt x="1" y="110"/>
                  <a:pt x="2" y="109"/>
                  <a:pt x="2" y="108"/>
                </a:cubicBezTo>
                <a:cubicBezTo>
                  <a:pt x="2" y="107"/>
                  <a:pt x="3" y="107"/>
                  <a:pt x="3" y="107"/>
                </a:cubicBezTo>
                <a:cubicBezTo>
                  <a:pt x="8" y="97"/>
                  <a:pt x="8" y="97"/>
                  <a:pt x="8" y="97"/>
                </a:cubicBezTo>
                <a:cubicBezTo>
                  <a:pt x="8" y="68"/>
                  <a:pt x="8" y="68"/>
                  <a:pt x="8" y="68"/>
                </a:cubicBezTo>
                <a:cubicBezTo>
                  <a:pt x="8" y="68"/>
                  <a:pt x="8" y="67"/>
                  <a:pt x="9" y="67"/>
                </a:cubicBezTo>
                <a:cubicBezTo>
                  <a:pt x="9" y="66"/>
                  <a:pt x="10" y="66"/>
                  <a:pt x="10" y="66"/>
                </a:cubicBezTo>
                <a:cubicBezTo>
                  <a:pt x="52" y="66"/>
                  <a:pt x="52" y="66"/>
                  <a:pt x="52" y="66"/>
                </a:cubicBezTo>
                <a:cubicBezTo>
                  <a:pt x="52" y="66"/>
                  <a:pt x="53" y="66"/>
                  <a:pt x="53" y="67"/>
                </a:cubicBezTo>
                <a:cubicBezTo>
                  <a:pt x="54" y="67"/>
                  <a:pt x="54" y="68"/>
                  <a:pt x="54" y="68"/>
                </a:cubicBezTo>
                <a:cubicBezTo>
                  <a:pt x="54" y="82"/>
                  <a:pt x="54" y="82"/>
                  <a:pt x="54" y="82"/>
                </a:cubicBezTo>
                <a:cubicBezTo>
                  <a:pt x="63" y="82"/>
                  <a:pt x="63" y="82"/>
                  <a:pt x="63" y="82"/>
                </a:cubicBezTo>
                <a:cubicBezTo>
                  <a:pt x="63" y="51"/>
                  <a:pt x="63" y="51"/>
                  <a:pt x="63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39" y="51"/>
                  <a:pt x="38" y="51"/>
                  <a:pt x="38" y="51"/>
                </a:cubicBezTo>
                <a:cubicBezTo>
                  <a:pt x="37" y="51"/>
                  <a:pt x="37" y="51"/>
                  <a:pt x="37" y="50"/>
                </a:cubicBezTo>
                <a:cubicBezTo>
                  <a:pt x="36" y="50"/>
                  <a:pt x="36" y="49"/>
                  <a:pt x="36" y="49"/>
                </a:cubicBezTo>
                <a:cubicBezTo>
                  <a:pt x="36" y="48"/>
                  <a:pt x="36" y="48"/>
                  <a:pt x="37" y="47"/>
                </a:cubicBezTo>
                <a:cubicBezTo>
                  <a:pt x="37" y="46"/>
                  <a:pt x="38" y="45"/>
                  <a:pt x="38" y="45"/>
                </a:cubicBezTo>
                <a:cubicBezTo>
                  <a:pt x="38" y="44"/>
                  <a:pt x="38" y="43"/>
                  <a:pt x="39" y="42"/>
                </a:cubicBezTo>
                <a:cubicBezTo>
                  <a:pt x="39" y="42"/>
                  <a:pt x="39" y="41"/>
                  <a:pt x="39" y="4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"/>
                  <a:pt x="45" y="3"/>
                  <a:pt x="45" y="3"/>
                </a:cubicBezTo>
                <a:cubicBezTo>
                  <a:pt x="45" y="2"/>
                  <a:pt x="45" y="1"/>
                  <a:pt x="45" y="1"/>
                </a:cubicBezTo>
                <a:cubicBezTo>
                  <a:pt x="46" y="0"/>
                  <a:pt x="46" y="0"/>
                  <a:pt x="47" y="0"/>
                </a:cubicBezTo>
                <a:lnTo>
                  <a:pt x="8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  <p:sp>
        <p:nvSpPr>
          <p:cNvPr id="522" name="Shape 522"/>
          <p:cNvSpPr/>
          <p:nvPr/>
        </p:nvSpPr>
        <p:spPr>
          <a:xfrm>
            <a:off x="8465439" y="4888110"/>
            <a:ext cx="396545" cy="338230"/>
          </a:xfrm>
          <a:custGeom>
            <a:avLst/>
            <a:gdLst/>
            <a:ahLst/>
            <a:cxnLst/>
            <a:rect l="0" t="0" r="0" b="0"/>
            <a:pathLst>
              <a:path w="137" h="117" extrusionOk="0">
                <a:moveTo>
                  <a:pt x="89" y="91"/>
                </a:moveTo>
                <a:cubicBezTo>
                  <a:pt x="120" y="91"/>
                  <a:pt x="120" y="91"/>
                  <a:pt x="120" y="91"/>
                </a:cubicBezTo>
                <a:cubicBezTo>
                  <a:pt x="120" y="73"/>
                  <a:pt x="120" y="73"/>
                  <a:pt x="120" y="73"/>
                </a:cubicBezTo>
                <a:cubicBezTo>
                  <a:pt x="89" y="73"/>
                  <a:pt x="89" y="73"/>
                  <a:pt x="89" y="73"/>
                </a:cubicBezTo>
                <a:lnTo>
                  <a:pt x="89" y="91"/>
                </a:lnTo>
                <a:close/>
                <a:moveTo>
                  <a:pt x="52" y="26"/>
                </a:moveTo>
                <a:cubicBezTo>
                  <a:pt x="83" y="26"/>
                  <a:pt x="83" y="26"/>
                  <a:pt x="83" y="26"/>
                </a:cubicBezTo>
                <a:cubicBezTo>
                  <a:pt x="83" y="7"/>
                  <a:pt x="83" y="7"/>
                  <a:pt x="83" y="7"/>
                </a:cubicBezTo>
                <a:cubicBezTo>
                  <a:pt x="52" y="7"/>
                  <a:pt x="52" y="7"/>
                  <a:pt x="52" y="7"/>
                </a:cubicBezTo>
                <a:lnTo>
                  <a:pt x="52" y="26"/>
                </a:lnTo>
                <a:close/>
                <a:moveTo>
                  <a:pt x="15" y="91"/>
                </a:moveTo>
                <a:cubicBezTo>
                  <a:pt x="46" y="91"/>
                  <a:pt x="46" y="91"/>
                  <a:pt x="46" y="91"/>
                </a:cubicBezTo>
                <a:cubicBezTo>
                  <a:pt x="46" y="73"/>
                  <a:pt x="46" y="73"/>
                  <a:pt x="46" y="73"/>
                </a:cubicBezTo>
                <a:cubicBezTo>
                  <a:pt x="15" y="73"/>
                  <a:pt x="15" y="73"/>
                  <a:pt x="15" y="73"/>
                </a:cubicBezTo>
                <a:lnTo>
                  <a:pt x="15" y="91"/>
                </a:lnTo>
                <a:close/>
                <a:moveTo>
                  <a:pt x="88" y="0"/>
                </a:moveTo>
                <a:cubicBezTo>
                  <a:pt x="89" y="0"/>
                  <a:pt x="89" y="0"/>
                  <a:pt x="90" y="1"/>
                </a:cubicBezTo>
                <a:cubicBezTo>
                  <a:pt x="91" y="1"/>
                  <a:pt x="91" y="2"/>
                  <a:pt x="91" y="3"/>
                </a:cubicBezTo>
                <a:cubicBezTo>
                  <a:pt x="91" y="31"/>
                  <a:pt x="91" y="31"/>
                  <a:pt x="91" y="31"/>
                </a:cubicBezTo>
                <a:cubicBezTo>
                  <a:pt x="96" y="41"/>
                  <a:pt x="96" y="41"/>
                  <a:pt x="96" y="41"/>
                </a:cubicBezTo>
                <a:cubicBezTo>
                  <a:pt x="97" y="43"/>
                  <a:pt x="97" y="44"/>
                  <a:pt x="98" y="45"/>
                </a:cubicBezTo>
                <a:cubicBezTo>
                  <a:pt x="100" y="49"/>
                  <a:pt x="99" y="51"/>
                  <a:pt x="96" y="51"/>
                </a:cubicBezTo>
                <a:cubicBezTo>
                  <a:pt x="72" y="51"/>
                  <a:pt x="72" y="51"/>
                  <a:pt x="72" y="51"/>
                </a:cubicBezTo>
                <a:cubicBezTo>
                  <a:pt x="72" y="82"/>
                  <a:pt x="72" y="82"/>
                  <a:pt x="7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68"/>
                  <a:pt x="82" y="68"/>
                  <a:pt x="82" y="68"/>
                </a:cubicBezTo>
                <a:cubicBezTo>
                  <a:pt x="82" y="68"/>
                  <a:pt x="82" y="67"/>
                  <a:pt x="82" y="67"/>
                </a:cubicBezTo>
                <a:cubicBezTo>
                  <a:pt x="83" y="66"/>
                  <a:pt x="84" y="66"/>
                  <a:pt x="84" y="66"/>
                </a:cubicBezTo>
                <a:cubicBezTo>
                  <a:pt x="125" y="66"/>
                  <a:pt x="125" y="66"/>
                  <a:pt x="125" y="66"/>
                </a:cubicBezTo>
                <a:cubicBezTo>
                  <a:pt x="126" y="66"/>
                  <a:pt x="127" y="66"/>
                  <a:pt x="127" y="67"/>
                </a:cubicBezTo>
                <a:cubicBezTo>
                  <a:pt x="128" y="67"/>
                  <a:pt x="128" y="68"/>
                  <a:pt x="128" y="68"/>
                </a:cubicBezTo>
                <a:cubicBezTo>
                  <a:pt x="128" y="97"/>
                  <a:pt x="128" y="97"/>
                  <a:pt x="128" y="97"/>
                </a:cubicBezTo>
                <a:cubicBezTo>
                  <a:pt x="133" y="107"/>
                  <a:pt x="133" y="107"/>
                  <a:pt x="133" y="107"/>
                </a:cubicBezTo>
                <a:cubicBezTo>
                  <a:pt x="134" y="108"/>
                  <a:pt x="135" y="110"/>
                  <a:pt x="135" y="110"/>
                </a:cubicBezTo>
                <a:cubicBezTo>
                  <a:pt x="137" y="115"/>
                  <a:pt x="136" y="117"/>
                  <a:pt x="133" y="117"/>
                </a:cubicBezTo>
                <a:cubicBezTo>
                  <a:pt x="77" y="117"/>
                  <a:pt x="77" y="117"/>
                  <a:pt x="77" y="117"/>
                </a:cubicBezTo>
                <a:cubicBezTo>
                  <a:pt x="76" y="117"/>
                  <a:pt x="75" y="117"/>
                  <a:pt x="75" y="117"/>
                </a:cubicBezTo>
                <a:cubicBezTo>
                  <a:pt x="74" y="117"/>
                  <a:pt x="74" y="116"/>
                  <a:pt x="74" y="116"/>
                </a:cubicBezTo>
                <a:cubicBezTo>
                  <a:pt x="73" y="115"/>
                  <a:pt x="73" y="115"/>
                  <a:pt x="73" y="114"/>
                </a:cubicBezTo>
                <a:cubicBezTo>
                  <a:pt x="73" y="114"/>
                  <a:pt x="74" y="113"/>
                  <a:pt x="74" y="112"/>
                </a:cubicBezTo>
                <a:cubicBezTo>
                  <a:pt x="74" y="112"/>
                  <a:pt x="75" y="111"/>
                  <a:pt x="75" y="110"/>
                </a:cubicBezTo>
                <a:cubicBezTo>
                  <a:pt x="75" y="110"/>
                  <a:pt x="75" y="109"/>
                  <a:pt x="76" y="108"/>
                </a:cubicBezTo>
                <a:cubicBezTo>
                  <a:pt x="76" y="107"/>
                  <a:pt x="77" y="107"/>
                  <a:pt x="77" y="107"/>
                </a:cubicBezTo>
                <a:cubicBezTo>
                  <a:pt x="82" y="97"/>
                  <a:pt x="82" y="97"/>
                  <a:pt x="82" y="97"/>
                </a:cubicBezTo>
                <a:cubicBezTo>
                  <a:pt x="82" y="91"/>
                  <a:pt x="82" y="91"/>
                  <a:pt x="82" y="91"/>
                </a:cubicBezTo>
                <a:cubicBezTo>
                  <a:pt x="54" y="91"/>
                  <a:pt x="54" y="91"/>
                  <a:pt x="54" y="91"/>
                </a:cubicBezTo>
                <a:cubicBezTo>
                  <a:pt x="54" y="97"/>
                  <a:pt x="54" y="97"/>
                  <a:pt x="54" y="97"/>
                </a:cubicBezTo>
                <a:cubicBezTo>
                  <a:pt x="59" y="107"/>
                  <a:pt x="59" y="107"/>
                  <a:pt x="59" y="107"/>
                </a:cubicBezTo>
                <a:cubicBezTo>
                  <a:pt x="60" y="108"/>
                  <a:pt x="61" y="110"/>
                  <a:pt x="61" y="110"/>
                </a:cubicBezTo>
                <a:cubicBezTo>
                  <a:pt x="63" y="115"/>
                  <a:pt x="63" y="117"/>
                  <a:pt x="59" y="117"/>
                </a:cubicBezTo>
                <a:cubicBezTo>
                  <a:pt x="3" y="117"/>
                  <a:pt x="3" y="117"/>
                  <a:pt x="3" y="117"/>
                </a:cubicBezTo>
                <a:cubicBezTo>
                  <a:pt x="2" y="117"/>
                  <a:pt x="1" y="117"/>
                  <a:pt x="1" y="117"/>
                </a:cubicBezTo>
                <a:cubicBezTo>
                  <a:pt x="0" y="117"/>
                  <a:pt x="0" y="116"/>
                  <a:pt x="0" y="116"/>
                </a:cubicBezTo>
                <a:cubicBezTo>
                  <a:pt x="0" y="115"/>
                  <a:pt x="0" y="115"/>
                  <a:pt x="0" y="114"/>
                </a:cubicBezTo>
                <a:cubicBezTo>
                  <a:pt x="0" y="114"/>
                  <a:pt x="0" y="113"/>
                  <a:pt x="0" y="112"/>
                </a:cubicBezTo>
                <a:cubicBezTo>
                  <a:pt x="0" y="112"/>
                  <a:pt x="1" y="111"/>
                  <a:pt x="1" y="110"/>
                </a:cubicBezTo>
                <a:cubicBezTo>
                  <a:pt x="1" y="110"/>
                  <a:pt x="2" y="109"/>
                  <a:pt x="2" y="108"/>
                </a:cubicBezTo>
                <a:cubicBezTo>
                  <a:pt x="2" y="107"/>
                  <a:pt x="3" y="107"/>
                  <a:pt x="3" y="107"/>
                </a:cubicBezTo>
                <a:cubicBezTo>
                  <a:pt x="8" y="97"/>
                  <a:pt x="8" y="97"/>
                  <a:pt x="8" y="97"/>
                </a:cubicBezTo>
                <a:cubicBezTo>
                  <a:pt x="8" y="68"/>
                  <a:pt x="8" y="68"/>
                  <a:pt x="8" y="68"/>
                </a:cubicBezTo>
                <a:cubicBezTo>
                  <a:pt x="8" y="68"/>
                  <a:pt x="8" y="67"/>
                  <a:pt x="9" y="67"/>
                </a:cubicBezTo>
                <a:cubicBezTo>
                  <a:pt x="9" y="66"/>
                  <a:pt x="10" y="66"/>
                  <a:pt x="10" y="66"/>
                </a:cubicBezTo>
                <a:cubicBezTo>
                  <a:pt x="52" y="66"/>
                  <a:pt x="52" y="66"/>
                  <a:pt x="52" y="66"/>
                </a:cubicBezTo>
                <a:cubicBezTo>
                  <a:pt x="52" y="66"/>
                  <a:pt x="53" y="66"/>
                  <a:pt x="53" y="67"/>
                </a:cubicBezTo>
                <a:cubicBezTo>
                  <a:pt x="54" y="67"/>
                  <a:pt x="54" y="68"/>
                  <a:pt x="54" y="68"/>
                </a:cubicBezTo>
                <a:cubicBezTo>
                  <a:pt x="54" y="82"/>
                  <a:pt x="54" y="82"/>
                  <a:pt x="54" y="82"/>
                </a:cubicBezTo>
                <a:cubicBezTo>
                  <a:pt x="63" y="82"/>
                  <a:pt x="63" y="82"/>
                  <a:pt x="63" y="82"/>
                </a:cubicBezTo>
                <a:cubicBezTo>
                  <a:pt x="63" y="51"/>
                  <a:pt x="63" y="51"/>
                  <a:pt x="63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39" y="51"/>
                  <a:pt x="38" y="51"/>
                  <a:pt x="38" y="51"/>
                </a:cubicBezTo>
                <a:cubicBezTo>
                  <a:pt x="37" y="51"/>
                  <a:pt x="37" y="51"/>
                  <a:pt x="37" y="50"/>
                </a:cubicBezTo>
                <a:cubicBezTo>
                  <a:pt x="36" y="50"/>
                  <a:pt x="36" y="49"/>
                  <a:pt x="36" y="49"/>
                </a:cubicBezTo>
                <a:cubicBezTo>
                  <a:pt x="36" y="48"/>
                  <a:pt x="36" y="48"/>
                  <a:pt x="37" y="47"/>
                </a:cubicBezTo>
                <a:cubicBezTo>
                  <a:pt x="37" y="46"/>
                  <a:pt x="38" y="45"/>
                  <a:pt x="38" y="45"/>
                </a:cubicBezTo>
                <a:cubicBezTo>
                  <a:pt x="38" y="44"/>
                  <a:pt x="38" y="43"/>
                  <a:pt x="39" y="42"/>
                </a:cubicBezTo>
                <a:cubicBezTo>
                  <a:pt x="39" y="42"/>
                  <a:pt x="39" y="41"/>
                  <a:pt x="39" y="4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"/>
                  <a:pt x="45" y="3"/>
                  <a:pt x="45" y="3"/>
                </a:cubicBezTo>
                <a:cubicBezTo>
                  <a:pt x="45" y="2"/>
                  <a:pt x="45" y="1"/>
                  <a:pt x="45" y="1"/>
                </a:cubicBezTo>
                <a:cubicBezTo>
                  <a:pt x="46" y="0"/>
                  <a:pt x="46" y="0"/>
                  <a:pt x="47" y="0"/>
                </a:cubicBezTo>
                <a:lnTo>
                  <a:pt x="8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woColTx" type="twoColTx">
  <p:cSld name="twoColTx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6705599" cy="901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rtl="0">
              <a:spcBef>
                <a:spcPts val="0"/>
              </a:spcBef>
              <a:buSzPct val="100000"/>
              <a:buFont typeface="Arial"/>
              <a:buNone/>
              <a:defRPr sz="3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3" name="Shape 6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4038599" cy="4830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 sz="2400"/>
            </a:lvl1pPr>
            <a:lvl2pPr rtl="0">
              <a:defRPr sz="2400"/>
            </a:lvl2pPr>
            <a:lvl3pPr rtl="0">
              <a:defRPr sz="2400"/>
            </a:lvl3pPr>
            <a:lvl4pPr rtl="0">
              <a:defRPr sz="1800"/>
            </a:lvl4pPr>
            <a:lvl5pPr rtl="0">
              <a:defRPr sz="1800"/>
            </a:lvl5pPr>
            <a:lvl6pPr rtl="0">
              <a:defRPr sz="1800"/>
            </a:lvl6pPr>
            <a:lvl7pPr rtl="0">
              <a:defRPr sz="1800"/>
            </a:lvl7pPr>
            <a:lvl8pPr rtl="0">
              <a:defRPr sz="1800"/>
            </a:lvl8pPr>
            <a:lvl9pPr rtl="0"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2"/>
          </p:nvPr>
        </p:nvSpPr>
        <p:spPr>
          <a:xfrm>
            <a:off x="4648200" y="1295400"/>
            <a:ext cx="4038599" cy="4830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 sz="2400"/>
            </a:lvl1pPr>
            <a:lvl2pPr rtl="0">
              <a:defRPr sz="2400">
                <a:solidFill>
                  <a:schemeClr val="dk1"/>
                </a:solidFill>
              </a:defRPr>
            </a:lvl2pPr>
            <a:lvl3pPr rtl="0">
              <a:defRPr sz="2400">
                <a:solidFill>
                  <a:schemeClr val="dk1"/>
                </a:solidFill>
              </a:defRPr>
            </a:lvl3pPr>
            <a:lvl4pPr rtl="0">
              <a:defRPr sz="1800">
                <a:solidFill>
                  <a:schemeClr val="dk1"/>
                </a:solidFill>
              </a:defRPr>
            </a:lvl4pPr>
            <a:lvl5pPr rtl="0">
              <a:defRPr sz="1800">
                <a:solidFill>
                  <a:schemeClr val="dk1"/>
                </a:solidFill>
              </a:defRPr>
            </a:lvl5pPr>
            <a:lvl6pPr rtl="0">
              <a:defRPr sz="1800">
                <a:solidFill>
                  <a:schemeClr val="dk1"/>
                </a:solidFill>
              </a:defRPr>
            </a:lvl6pPr>
            <a:lvl7pPr rtl="0">
              <a:defRPr sz="1800">
                <a:solidFill>
                  <a:schemeClr val="dk1"/>
                </a:solidFill>
              </a:defRPr>
            </a:lvl7pPr>
            <a:lvl8pPr rtl="0">
              <a:defRPr sz="1800">
                <a:solidFill>
                  <a:schemeClr val="dk1"/>
                </a:solidFill>
              </a:defRPr>
            </a:lvl8pPr>
            <a:lvl9pPr rtl="0">
              <a:defRPr sz="1800"/>
            </a:lvl9pPr>
          </a:lstStyle>
          <a:p>
            <a:endParaRPr/>
          </a:p>
        </p:txBody>
      </p:sp>
      <p:grpSp>
        <p:nvGrpSpPr>
          <p:cNvPr id="65" name="Shape 65"/>
          <p:cNvGrpSpPr/>
          <p:nvPr/>
        </p:nvGrpSpPr>
        <p:grpSpPr>
          <a:xfrm>
            <a:off x="7231463" y="668722"/>
            <a:ext cx="1379137" cy="451430"/>
            <a:chOff x="247175" y="1685725"/>
            <a:chExt cx="7134700" cy="2332975"/>
          </a:xfrm>
        </p:grpSpPr>
        <p:sp>
          <p:nvSpPr>
            <p:cNvPr id="66" name="Shape 66"/>
            <p:cNvSpPr/>
            <p:nvPr/>
          </p:nvSpPr>
          <p:spPr>
            <a:xfrm>
              <a:off x="7066475" y="2271225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67" name="Shape 67"/>
            <p:cNvSpPr/>
            <p:nvPr/>
          </p:nvSpPr>
          <p:spPr>
            <a:xfrm>
              <a:off x="7215875" y="2271225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68" name="Shape 68"/>
            <p:cNvSpPr/>
            <p:nvPr/>
          </p:nvSpPr>
          <p:spPr>
            <a:xfrm>
              <a:off x="7066475" y="2271225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69" name="Shape 69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0" name="Shape 70"/>
            <p:cNvSpPr/>
            <p:nvPr/>
          </p:nvSpPr>
          <p:spPr>
            <a:xfrm>
              <a:off x="4736525" y="2360250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1" name="Shape 71"/>
            <p:cNvSpPr/>
            <p:nvPr/>
          </p:nvSpPr>
          <p:spPr>
            <a:xfrm>
              <a:off x="4623350" y="3374325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2" name="Shape 72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3" name="Shape 73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4" name="Shape 74"/>
            <p:cNvSpPr/>
            <p:nvPr/>
          </p:nvSpPr>
          <p:spPr>
            <a:xfrm>
              <a:off x="3502150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5" name="Shape 75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6" name="Shape 76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7" name="Shape 77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8" name="Shape 78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79" name="Shape 79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0" name="Shape 80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1" name="Shape 81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2" name="Shape 82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3" name="Shape 83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4" name="Shape 84"/>
            <p:cNvSpPr/>
            <p:nvPr/>
          </p:nvSpPr>
          <p:spPr>
            <a:xfrm>
              <a:off x="6343650" y="2328575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85" name="Shape 85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86" name="Shape 86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87" name="Shape 87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  <p:cxnSp>
        <p:nvCxnSpPr>
          <p:cNvPr id="88" name="Shape 88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Only" type="titleOnly">
  <p:cSld name="titleOnl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Shape 90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6705599" cy="901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rtl="0">
              <a:defRPr>
                <a:solidFill>
                  <a:schemeClr val="dk2"/>
                </a:solidFill>
              </a:defRPr>
            </a:lvl1pPr>
            <a:lvl2pPr rtl="0">
              <a:defRPr>
                <a:solidFill>
                  <a:schemeClr val="dk2"/>
                </a:solidFill>
              </a:defRPr>
            </a:lvl2pPr>
            <a:lvl3pPr rtl="0">
              <a:defRPr>
                <a:solidFill>
                  <a:schemeClr val="dk2"/>
                </a:solidFill>
              </a:defRPr>
            </a:lvl3pPr>
            <a:lvl4pPr rtl="0">
              <a:defRPr>
                <a:solidFill>
                  <a:schemeClr val="dk2"/>
                </a:solidFill>
              </a:defRPr>
            </a:lvl4pPr>
            <a:lvl5pPr rtl="0">
              <a:defRPr>
                <a:solidFill>
                  <a:schemeClr val="dk2"/>
                </a:solidFill>
              </a:defRPr>
            </a:lvl5pPr>
            <a:lvl6pPr rtl="0">
              <a:defRPr>
                <a:solidFill>
                  <a:schemeClr val="dk2"/>
                </a:solidFill>
              </a:defRPr>
            </a:lvl6pPr>
            <a:lvl7pPr rtl="0">
              <a:defRPr>
                <a:solidFill>
                  <a:schemeClr val="dk2"/>
                </a:solidFill>
              </a:defRPr>
            </a:lvl7pPr>
            <a:lvl8pPr rtl="0">
              <a:defRPr>
                <a:solidFill>
                  <a:schemeClr val="dk2"/>
                </a:solidFill>
              </a:defRPr>
            </a:lvl8pPr>
            <a:lvl9pPr rtl="0"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grpSp>
        <p:nvGrpSpPr>
          <p:cNvPr id="91" name="Shape 91"/>
          <p:cNvGrpSpPr/>
          <p:nvPr/>
        </p:nvGrpSpPr>
        <p:grpSpPr>
          <a:xfrm>
            <a:off x="7231463" y="668722"/>
            <a:ext cx="1379137" cy="451430"/>
            <a:chOff x="247173" y="1685724"/>
            <a:chExt cx="7134698" cy="2332975"/>
          </a:xfrm>
        </p:grpSpPr>
        <p:sp>
          <p:nvSpPr>
            <p:cNvPr id="92" name="Shape 92"/>
            <p:cNvSpPr/>
            <p:nvPr/>
          </p:nvSpPr>
          <p:spPr>
            <a:xfrm>
              <a:off x="7066472" y="2271224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3" name="Shape 93"/>
            <p:cNvSpPr/>
            <p:nvPr/>
          </p:nvSpPr>
          <p:spPr>
            <a:xfrm>
              <a:off x="7215872" y="2271224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4" name="Shape 94"/>
            <p:cNvSpPr/>
            <p:nvPr/>
          </p:nvSpPr>
          <p:spPr>
            <a:xfrm>
              <a:off x="7066472" y="2271224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5" name="Shape 95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6" name="Shape 96"/>
            <p:cNvSpPr/>
            <p:nvPr/>
          </p:nvSpPr>
          <p:spPr>
            <a:xfrm>
              <a:off x="4736523" y="2360247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7" name="Shape 97"/>
            <p:cNvSpPr/>
            <p:nvPr/>
          </p:nvSpPr>
          <p:spPr>
            <a:xfrm>
              <a:off x="4623348" y="3374326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8" name="Shape 98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99" name="Shape 99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0" name="Shape 100"/>
            <p:cNvSpPr/>
            <p:nvPr/>
          </p:nvSpPr>
          <p:spPr>
            <a:xfrm>
              <a:off x="3502146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1" name="Shape 101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2" name="Shape 102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3" name="Shape 103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4" name="Shape 104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5" name="Shape 105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6" name="Shape 106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7" name="Shape 107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8" name="Shape 108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09" name="Shape 109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10" name="Shape 110"/>
            <p:cNvSpPr/>
            <p:nvPr/>
          </p:nvSpPr>
          <p:spPr>
            <a:xfrm>
              <a:off x="6343648" y="2328573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11" name="Shape 111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112" name="Shape 112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13" name="Shape 113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4" name="Shape 114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PTION_ONLY">
  <p:cSld name="CAPTION_ONLY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Shape 116"/>
          <p:cNvGrpSpPr/>
          <p:nvPr/>
        </p:nvGrpSpPr>
        <p:grpSpPr>
          <a:xfrm>
            <a:off x="7231463" y="668722"/>
            <a:ext cx="1379137" cy="451430"/>
            <a:chOff x="247173" y="1685724"/>
            <a:chExt cx="7134698" cy="2332975"/>
          </a:xfrm>
        </p:grpSpPr>
        <p:sp>
          <p:nvSpPr>
            <p:cNvPr id="117" name="Shape 117"/>
            <p:cNvSpPr/>
            <p:nvPr/>
          </p:nvSpPr>
          <p:spPr>
            <a:xfrm>
              <a:off x="7066472" y="2271224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18" name="Shape 118"/>
            <p:cNvSpPr/>
            <p:nvPr/>
          </p:nvSpPr>
          <p:spPr>
            <a:xfrm>
              <a:off x="7215872" y="2271224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19" name="Shape 119"/>
            <p:cNvSpPr/>
            <p:nvPr/>
          </p:nvSpPr>
          <p:spPr>
            <a:xfrm>
              <a:off x="7066472" y="2271224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0" name="Shape 120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1" name="Shape 121"/>
            <p:cNvSpPr/>
            <p:nvPr/>
          </p:nvSpPr>
          <p:spPr>
            <a:xfrm>
              <a:off x="4736523" y="2360247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2" name="Shape 122"/>
            <p:cNvSpPr/>
            <p:nvPr/>
          </p:nvSpPr>
          <p:spPr>
            <a:xfrm>
              <a:off x="4623348" y="3374326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3" name="Shape 123"/>
            <p:cNvSpPr/>
            <p:nvPr/>
          </p:nvSpPr>
          <p:spPr>
            <a:xfrm>
              <a:off x="4422648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4" name="Shape 124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5" name="Shape 125"/>
            <p:cNvSpPr/>
            <p:nvPr/>
          </p:nvSpPr>
          <p:spPr>
            <a:xfrm>
              <a:off x="3502146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6" name="Shape 126"/>
            <p:cNvSpPr/>
            <p:nvPr/>
          </p:nvSpPr>
          <p:spPr>
            <a:xfrm>
              <a:off x="3281826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7" name="Shape 127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8" name="Shape 128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29" name="Shape 129"/>
            <p:cNvSpPr/>
            <p:nvPr/>
          </p:nvSpPr>
          <p:spPr>
            <a:xfrm>
              <a:off x="2006699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0" name="Shape 130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1" name="Shape 131"/>
            <p:cNvSpPr/>
            <p:nvPr/>
          </p:nvSpPr>
          <p:spPr>
            <a:xfrm>
              <a:off x="247173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2" name="Shape 132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3" name="Shape 133"/>
            <p:cNvSpPr/>
            <p:nvPr/>
          </p:nvSpPr>
          <p:spPr>
            <a:xfrm>
              <a:off x="5530275" y="1685724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4" name="Shape 134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5" name="Shape 135"/>
            <p:cNvSpPr/>
            <p:nvPr/>
          </p:nvSpPr>
          <p:spPr>
            <a:xfrm>
              <a:off x="6343648" y="2328573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36" name="Shape 136"/>
            <p:cNvSpPr/>
            <p:nvPr/>
          </p:nvSpPr>
          <p:spPr>
            <a:xfrm>
              <a:off x="6148976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137" name="Shape 137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38" name="Shape 138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39" name="Shape 139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body" idx="1"/>
          </p:nvPr>
        </p:nvSpPr>
        <p:spPr>
          <a:xfrm>
            <a:off x="457200" y="5486400"/>
            <a:ext cx="8229600" cy="61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>
                <a:solidFill>
                  <a:schemeClr val="dk1"/>
                </a:solidFill>
              </a:defRPr>
            </a:lvl1pPr>
            <a:lvl2pPr rtl="0">
              <a:defRPr sz="2400">
                <a:solidFill>
                  <a:schemeClr val="dk1"/>
                </a:solidFill>
              </a:defRPr>
            </a:lvl2pPr>
            <a:lvl3pPr rtl="0">
              <a:defRPr sz="2400">
                <a:solidFill>
                  <a:schemeClr val="dk1"/>
                </a:solidFill>
              </a:defRPr>
            </a:lvl3pPr>
            <a:lvl4pPr rtl="0">
              <a:defRPr sz="2400">
                <a:solidFill>
                  <a:schemeClr val="dk1"/>
                </a:solidFill>
              </a:defRPr>
            </a:lvl4pPr>
            <a:lvl5pPr rtl="0">
              <a:defRPr sz="2400">
                <a:solidFill>
                  <a:schemeClr val="dk1"/>
                </a:solidFill>
              </a:defRPr>
            </a:lvl5pPr>
            <a:lvl6pPr rtl="0">
              <a:defRPr sz="2400">
                <a:solidFill>
                  <a:schemeClr val="dk1"/>
                </a:solidFill>
              </a:defRPr>
            </a:lvl6pPr>
            <a:lvl7pPr rtl="0">
              <a:defRPr sz="2400">
                <a:solidFill>
                  <a:schemeClr val="dk1"/>
                </a:solidFill>
              </a:defRPr>
            </a:lvl7pPr>
            <a:lvl8pPr rtl="0">
              <a:defRPr sz="2400">
                <a:solidFill>
                  <a:schemeClr val="dk1"/>
                </a:solidFill>
              </a:defRPr>
            </a:lvl8pPr>
            <a:lvl9pPr rtl="0">
              <a:defRPr sz="2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Shape 142"/>
          <p:cNvGrpSpPr/>
          <p:nvPr/>
        </p:nvGrpSpPr>
        <p:grpSpPr>
          <a:xfrm>
            <a:off x="7231463" y="668722"/>
            <a:ext cx="1379137" cy="451430"/>
            <a:chOff x="247175" y="1685725"/>
            <a:chExt cx="7134700" cy="2332975"/>
          </a:xfrm>
        </p:grpSpPr>
        <p:sp>
          <p:nvSpPr>
            <p:cNvPr id="143" name="Shape 143"/>
            <p:cNvSpPr/>
            <p:nvPr/>
          </p:nvSpPr>
          <p:spPr>
            <a:xfrm>
              <a:off x="7066475" y="2271225"/>
              <a:ext cx="315400" cy="166025"/>
            </a:xfrm>
            <a:custGeom>
              <a:avLst/>
              <a:gdLst/>
              <a:ahLst/>
              <a:cxnLst/>
              <a:rect l="0" t="0" r="0" b="0"/>
              <a:pathLst>
                <a:path w="12616" h="6641" extrusionOk="0">
                  <a:moveTo>
                    <a:pt x="1" y="1"/>
                  </a:move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  <a:lnTo>
                    <a:pt x="5011" y="665"/>
                  </a:lnTo>
                  <a:lnTo>
                    <a:pt x="5011" y="1"/>
                  </a:lnTo>
                  <a:close/>
                  <a:moveTo>
                    <a:pt x="5976" y="1"/>
                  </a:moveTo>
                  <a:lnTo>
                    <a:pt x="5976" y="6640"/>
                  </a:lnTo>
                  <a:lnTo>
                    <a:pt x="6701" y="6640"/>
                  </a:lnTo>
                  <a:lnTo>
                    <a:pt x="6701" y="2415"/>
                  </a:lnTo>
                  <a:lnTo>
                    <a:pt x="6701" y="1510"/>
                  </a:lnTo>
                  <a:lnTo>
                    <a:pt x="6640" y="725"/>
                  </a:lnTo>
                  <a:lnTo>
                    <a:pt x="6701" y="725"/>
                  </a:lnTo>
                  <a:lnTo>
                    <a:pt x="8934" y="6640"/>
                  </a:lnTo>
                  <a:lnTo>
                    <a:pt x="9538" y="6640"/>
                  </a:lnTo>
                  <a:lnTo>
                    <a:pt x="11831" y="725"/>
                  </a:lnTo>
                  <a:lnTo>
                    <a:pt x="11892" y="725"/>
                  </a:lnTo>
                  <a:lnTo>
                    <a:pt x="11831" y="2355"/>
                  </a:lnTo>
                  <a:lnTo>
                    <a:pt x="11831" y="6640"/>
                  </a:lnTo>
                  <a:lnTo>
                    <a:pt x="12616" y="6640"/>
                  </a:lnTo>
                  <a:lnTo>
                    <a:pt x="12616" y="1"/>
                  </a:lnTo>
                  <a:lnTo>
                    <a:pt x="11409" y="1"/>
                  </a:lnTo>
                  <a:lnTo>
                    <a:pt x="9296" y="5494"/>
                  </a:lnTo>
                  <a:lnTo>
                    <a:pt x="7184" y="1"/>
                  </a:lnTo>
                  <a:close/>
                </a:path>
              </a:pathLst>
            </a:custGeom>
            <a:solidFill>
              <a:srgbClr val="969899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4" name="Shape 144"/>
            <p:cNvSpPr/>
            <p:nvPr/>
          </p:nvSpPr>
          <p:spPr>
            <a:xfrm>
              <a:off x="7215875" y="2271225"/>
              <a:ext cx="166000" cy="166025"/>
            </a:xfrm>
            <a:custGeom>
              <a:avLst/>
              <a:gdLst/>
              <a:ahLst/>
              <a:cxnLst/>
              <a:rect l="0" t="0" r="0" b="0"/>
              <a:pathLst>
                <a:path w="6640" h="6641" fill="none" extrusionOk="0">
                  <a:moveTo>
                    <a:pt x="3562" y="6640"/>
                  </a:moveTo>
                  <a:lnTo>
                    <a:pt x="5855" y="725"/>
                  </a:lnTo>
                  <a:lnTo>
                    <a:pt x="5916" y="725"/>
                  </a:lnTo>
                  <a:lnTo>
                    <a:pt x="5916" y="725"/>
                  </a:lnTo>
                  <a:lnTo>
                    <a:pt x="5855" y="2355"/>
                  </a:lnTo>
                  <a:lnTo>
                    <a:pt x="5855" y="6640"/>
                  </a:lnTo>
                  <a:lnTo>
                    <a:pt x="6640" y="6640"/>
                  </a:lnTo>
                  <a:lnTo>
                    <a:pt x="6640" y="1"/>
                  </a:lnTo>
                  <a:lnTo>
                    <a:pt x="5433" y="1"/>
                  </a:lnTo>
                  <a:lnTo>
                    <a:pt x="3320" y="5494"/>
                  </a:lnTo>
                  <a:lnTo>
                    <a:pt x="3320" y="5494"/>
                  </a:lnTo>
                  <a:lnTo>
                    <a:pt x="1208" y="1"/>
                  </a:lnTo>
                  <a:lnTo>
                    <a:pt x="0" y="1"/>
                  </a:lnTo>
                  <a:lnTo>
                    <a:pt x="0" y="6640"/>
                  </a:lnTo>
                  <a:lnTo>
                    <a:pt x="725" y="6640"/>
                  </a:lnTo>
                  <a:lnTo>
                    <a:pt x="725" y="2415"/>
                  </a:lnTo>
                  <a:lnTo>
                    <a:pt x="725" y="2415"/>
                  </a:lnTo>
                  <a:lnTo>
                    <a:pt x="725" y="1510"/>
                  </a:lnTo>
                  <a:lnTo>
                    <a:pt x="664" y="725"/>
                  </a:lnTo>
                  <a:lnTo>
                    <a:pt x="725" y="725"/>
                  </a:lnTo>
                  <a:lnTo>
                    <a:pt x="2958" y="6640"/>
                  </a:lnTo>
                  <a:lnTo>
                    <a:pt x="3562" y="664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5" name="Shape 145"/>
            <p:cNvSpPr/>
            <p:nvPr/>
          </p:nvSpPr>
          <p:spPr>
            <a:xfrm>
              <a:off x="7066475" y="2271225"/>
              <a:ext cx="125275" cy="166025"/>
            </a:xfrm>
            <a:custGeom>
              <a:avLst/>
              <a:gdLst/>
              <a:ahLst/>
              <a:cxnLst/>
              <a:rect l="0" t="0" r="0" b="0"/>
              <a:pathLst>
                <a:path w="5011" h="6641" fill="none" extrusionOk="0">
                  <a:moveTo>
                    <a:pt x="2898" y="665"/>
                  </a:moveTo>
                  <a:lnTo>
                    <a:pt x="5011" y="665"/>
                  </a:lnTo>
                  <a:lnTo>
                    <a:pt x="5011" y="1"/>
                  </a:lnTo>
                  <a:lnTo>
                    <a:pt x="1" y="1"/>
                  </a:lnTo>
                  <a:lnTo>
                    <a:pt x="1" y="665"/>
                  </a:lnTo>
                  <a:lnTo>
                    <a:pt x="2113" y="665"/>
                  </a:lnTo>
                  <a:lnTo>
                    <a:pt x="2113" y="6640"/>
                  </a:lnTo>
                  <a:lnTo>
                    <a:pt x="2898" y="6640"/>
                  </a:lnTo>
                  <a:lnTo>
                    <a:pt x="2898" y="66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6" name="Shape 146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extrusionOk="0">
                  <a:moveTo>
                    <a:pt x="21610" y="3019"/>
                  </a:moveTo>
                  <a:lnTo>
                    <a:pt x="22334" y="3140"/>
                  </a:lnTo>
                  <a:lnTo>
                    <a:pt x="22938" y="3260"/>
                  </a:lnTo>
                  <a:lnTo>
                    <a:pt x="23602" y="3442"/>
                  </a:lnTo>
                  <a:lnTo>
                    <a:pt x="24206" y="3683"/>
                  </a:lnTo>
                  <a:lnTo>
                    <a:pt x="24809" y="3985"/>
                  </a:lnTo>
                  <a:lnTo>
                    <a:pt x="25352" y="4347"/>
                  </a:lnTo>
                  <a:lnTo>
                    <a:pt x="25896" y="4709"/>
                  </a:lnTo>
                  <a:lnTo>
                    <a:pt x="26439" y="5132"/>
                  </a:lnTo>
                  <a:lnTo>
                    <a:pt x="26922" y="5554"/>
                  </a:lnTo>
                  <a:lnTo>
                    <a:pt x="27405" y="6037"/>
                  </a:lnTo>
                  <a:lnTo>
                    <a:pt x="27888" y="6580"/>
                  </a:lnTo>
                  <a:lnTo>
                    <a:pt x="28733" y="7727"/>
                  </a:lnTo>
                  <a:lnTo>
                    <a:pt x="29517" y="8934"/>
                  </a:lnTo>
                  <a:lnTo>
                    <a:pt x="30181" y="10202"/>
                  </a:lnTo>
                  <a:lnTo>
                    <a:pt x="30785" y="11590"/>
                  </a:lnTo>
                  <a:lnTo>
                    <a:pt x="31268" y="12979"/>
                  </a:lnTo>
                  <a:lnTo>
                    <a:pt x="31690" y="14367"/>
                  </a:lnTo>
                  <a:lnTo>
                    <a:pt x="31992" y="15755"/>
                  </a:lnTo>
                  <a:lnTo>
                    <a:pt x="32234" y="17144"/>
                  </a:lnTo>
                  <a:lnTo>
                    <a:pt x="32354" y="18471"/>
                  </a:lnTo>
                  <a:lnTo>
                    <a:pt x="32415" y="19739"/>
                  </a:lnTo>
                  <a:lnTo>
                    <a:pt x="32415" y="20403"/>
                  </a:lnTo>
                  <a:lnTo>
                    <a:pt x="32354" y="21188"/>
                  </a:lnTo>
                  <a:lnTo>
                    <a:pt x="32234" y="22033"/>
                  </a:lnTo>
                  <a:lnTo>
                    <a:pt x="32052" y="22878"/>
                  </a:lnTo>
                  <a:lnTo>
                    <a:pt x="31751" y="23783"/>
                  </a:lnTo>
                  <a:lnTo>
                    <a:pt x="31388" y="24689"/>
                  </a:lnTo>
                  <a:lnTo>
                    <a:pt x="31087" y="25172"/>
                  </a:lnTo>
                  <a:lnTo>
                    <a:pt x="30845" y="25594"/>
                  </a:lnTo>
                  <a:lnTo>
                    <a:pt x="30483" y="26017"/>
                  </a:lnTo>
                  <a:lnTo>
                    <a:pt x="30121" y="26379"/>
                  </a:lnTo>
                  <a:lnTo>
                    <a:pt x="29517" y="26922"/>
                  </a:lnTo>
                  <a:lnTo>
                    <a:pt x="28853" y="27405"/>
                  </a:lnTo>
                  <a:lnTo>
                    <a:pt x="28129" y="27827"/>
                  </a:lnTo>
                  <a:lnTo>
                    <a:pt x="27344" y="28190"/>
                  </a:lnTo>
                  <a:lnTo>
                    <a:pt x="26499" y="28491"/>
                  </a:lnTo>
                  <a:lnTo>
                    <a:pt x="25654" y="28733"/>
                  </a:lnTo>
                  <a:lnTo>
                    <a:pt x="24809" y="28914"/>
                  </a:lnTo>
                  <a:lnTo>
                    <a:pt x="23240" y="28914"/>
                  </a:lnTo>
                  <a:lnTo>
                    <a:pt x="22515" y="28854"/>
                  </a:lnTo>
                  <a:lnTo>
                    <a:pt x="21851" y="28672"/>
                  </a:lnTo>
                  <a:lnTo>
                    <a:pt x="21187" y="28491"/>
                  </a:lnTo>
                  <a:lnTo>
                    <a:pt x="20584" y="28250"/>
                  </a:lnTo>
                  <a:lnTo>
                    <a:pt x="19980" y="27948"/>
                  </a:lnTo>
                  <a:lnTo>
                    <a:pt x="19437" y="27646"/>
                  </a:lnTo>
                  <a:lnTo>
                    <a:pt x="18833" y="27284"/>
                  </a:lnTo>
                  <a:lnTo>
                    <a:pt x="18350" y="26862"/>
                  </a:lnTo>
                  <a:lnTo>
                    <a:pt x="17807" y="26439"/>
                  </a:lnTo>
                  <a:lnTo>
                    <a:pt x="17385" y="25956"/>
                  </a:lnTo>
                  <a:lnTo>
                    <a:pt x="16902" y="25413"/>
                  </a:lnTo>
                  <a:lnTo>
                    <a:pt x="16057" y="24326"/>
                  </a:lnTo>
                  <a:lnTo>
                    <a:pt x="15332" y="23119"/>
                  </a:lnTo>
                  <a:lnTo>
                    <a:pt x="14668" y="21852"/>
                  </a:lnTo>
                  <a:lnTo>
                    <a:pt x="14125" y="20524"/>
                  </a:lnTo>
                  <a:lnTo>
                    <a:pt x="13642" y="19196"/>
                  </a:lnTo>
                  <a:lnTo>
                    <a:pt x="13220" y="17868"/>
                  </a:lnTo>
                  <a:lnTo>
                    <a:pt x="12918" y="16480"/>
                  </a:lnTo>
                  <a:lnTo>
                    <a:pt x="12737" y="15212"/>
                  </a:lnTo>
                  <a:lnTo>
                    <a:pt x="12616" y="13944"/>
                  </a:lnTo>
                  <a:lnTo>
                    <a:pt x="12556" y="12737"/>
                  </a:lnTo>
                  <a:lnTo>
                    <a:pt x="12616" y="11832"/>
                  </a:lnTo>
                  <a:lnTo>
                    <a:pt x="12677" y="10987"/>
                  </a:lnTo>
                  <a:lnTo>
                    <a:pt x="12797" y="10081"/>
                  </a:lnTo>
                  <a:lnTo>
                    <a:pt x="12978" y="9236"/>
                  </a:lnTo>
                  <a:lnTo>
                    <a:pt x="13280" y="8391"/>
                  </a:lnTo>
                  <a:lnTo>
                    <a:pt x="13582" y="7546"/>
                  </a:lnTo>
                  <a:lnTo>
                    <a:pt x="14065" y="6761"/>
                  </a:lnTo>
                  <a:lnTo>
                    <a:pt x="14548" y="6037"/>
                  </a:lnTo>
                  <a:lnTo>
                    <a:pt x="15151" y="5373"/>
                  </a:lnTo>
                  <a:lnTo>
                    <a:pt x="15815" y="4769"/>
                  </a:lnTo>
                  <a:lnTo>
                    <a:pt x="16600" y="4287"/>
                  </a:lnTo>
                  <a:lnTo>
                    <a:pt x="17385" y="3804"/>
                  </a:lnTo>
                  <a:lnTo>
                    <a:pt x="18290" y="3502"/>
                  </a:lnTo>
                  <a:lnTo>
                    <a:pt x="19135" y="3200"/>
                  </a:lnTo>
                  <a:lnTo>
                    <a:pt x="20041" y="3079"/>
                  </a:lnTo>
                  <a:lnTo>
                    <a:pt x="20946" y="3019"/>
                  </a:lnTo>
                  <a:close/>
                  <a:moveTo>
                    <a:pt x="26499" y="43582"/>
                  </a:moveTo>
                  <a:lnTo>
                    <a:pt x="27465" y="43702"/>
                  </a:lnTo>
                  <a:lnTo>
                    <a:pt x="29879" y="45393"/>
                  </a:lnTo>
                  <a:lnTo>
                    <a:pt x="31932" y="46962"/>
                  </a:lnTo>
                  <a:lnTo>
                    <a:pt x="32837" y="47686"/>
                  </a:lnTo>
                  <a:lnTo>
                    <a:pt x="33682" y="48411"/>
                  </a:lnTo>
                  <a:lnTo>
                    <a:pt x="34407" y="49075"/>
                  </a:lnTo>
                  <a:lnTo>
                    <a:pt x="35010" y="49799"/>
                  </a:lnTo>
                  <a:lnTo>
                    <a:pt x="35614" y="50463"/>
                  </a:lnTo>
                  <a:lnTo>
                    <a:pt x="36097" y="51127"/>
                  </a:lnTo>
                  <a:lnTo>
                    <a:pt x="36519" y="51851"/>
                  </a:lnTo>
                  <a:lnTo>
                    <a:pt x="36821" y="52515"/>
                  </a:lnTo>
                  <a:lnTo>
                    <a:pt x="37062" y="53300"/>
                  </a:lnTo>
                  <a:lnTo>
                    <a:pt x="37244" y="54024"/>
                  </a:lnTo>
                  <a:lnTo>
                    <a:pt x="37364" y="54869"/>
                  </a:lnTo>
                  <a:lnTo>
                    <a:pt x="37425" y="55714"/>
                  </a:lnTo>
                  <a:lnTo>
                    <a:pt x="37364" y="56740"/>
                  </a:lnTo>
                  <a:lnTo>
                    <a:pt x="37183" y="57706"/>
                  </a:lnTo>
                  <a:lnTo>
                    <a:pt x="36942" y="58672"/>
                  </a:lnTo>
                  <a:lnTo>
                    <a:pt x="36519" y="59577"/>
                  </a:lnTo>
                  <a:lnTo>
                    <a:pt x="36036" y="60483"/>
                  </a:lnTo>
                  <a:lnTo>
                    <a:pt x="35493" y="61268"/>
                  </a:lnTo>
                  <a:lnTo>
                    <a:pt x="34769" y="62052"/>
                  </a:lnTo>
                  <a:lnTo>
                    <a:pt x="33984" y="62716"/>
                  </a:lnTo>
                  <a:lnTo>
                    <a:pt x="33079" y="63320"/>
                  </a:lnTo>
                  <a:lnTo>
                    <a:pt x="32113" y="63863"/>
                  </a:lnTo>
                  <a:lnTo>
                    <a:pt x="31026" y="64346"/>
                  </a:lnTo>
                  <a:lnTo>
                    <a:pt x="29819" y="64768"/>
                  </a:lnTo>
                  <a:lnTo>
                    <a:pt x="28491" y="65070"/>
                  </a:lnTo>
                  <a:lnTo>
                    <a:pt x="27103" y="65312"/>
                  </a:lnTo>
                  <a:lnTo>
                    <a:pt x="25594" y="65493"/>
                  </a:lnTo>
                  <a:lnTo>
                    <a:pt x="24024" y="65493"/>
                  </a:lnTo>
                  <a:lnTo>
                    <a:pt x="22274" y="65432"/>
                  </a:lnTo>
                  <a:lnTo>
                    <a:pt x="20523" y="65312"/>
                  </a:lnTo>
                  <a:lnTo>
                    <a:pt x="18954" y="65070"/>
                  </a:lnTo>
                  <a:lnTo>
                    <a:pt x="17445" y="64708"/>
                  </a:lnTo>
                  <a:lnTo>
                    <a:pt x="15996" y="64225"/>
                  </a:lnTo>
                  <a:lnTo>
                    <a:pt x="14668" y="63682"/>
                  </a:lnTo>
                  <a:lnTo>
                    <a:pt x="13461" y="63078"/>
                  </a:lnTo>
                  <a:lnTo>
                    <a:pt x="12375" y="62414"/>
                  </a:lnTo>
                  <a:lnTo>
                    <a:pt x="11409" y="61630"/>
                  </a:lnTo>
                  <a:lnTo>
                    <a:pt x="10504" y="60785"/>
                  </a:lnTo>
                  <a:lnTo>
                    <a:pt x="9779" y="59879"/>
                  </a:lnTo>
                  <a:lnTo>
                    <a:pt x="9176" y="58853"/>
                  </a:lnTo>
                  <a:lnTo>
                    <a:pt x="8693" y="57827"/>
                  </a:lnTo>
                  <a:lnTo>
                    <a:pt x="8451" y="57284"/>
                  </a:lnTo>
                  <a:lnTo>
                    <a:pt x="8331" y="56740"/>
                  </a:lnTo>
                  <a:lnTo>
                    <a:pt x="8210" y="56197"/>
                  </a:lnTo>
                  <a:lnTo>
                    <a:pt x="8089" y="55594"/>
                  </a:lnTo>
                  <a:lnTo>
                    <a:pt x="8029" y="54990"/>
                  </a:lnTo>
                  <a:lnTo>
                    <a:pt x="8029" y="54386"/>
                  </a:lnTo>
                  <a:lnTo>
                    <a:pt x="8089" y="53240"/>
                  </a:lnTo>
                  <a:lnTo>
                    <a:pt x="8270" y="52213"/>
                  </a:lnTo>
                  <a:lnTo>
                    <a:pt x="8572" y="51187"/>
                  </a:lnTo>
                  <a:lnTo>
                    <a:pt x="8934" y="50342"/>
                  </a:lnTo>
                  <a:lnTo>
                    <a:pt x="9417" y="49497"/>
                  </a:lnTo>
                  <a:lnTo>
                    <a:pt x="9960" y="48773"/>
                  </a:lnTo>
                  <a:lnTo>
                    <a:pt x="10564" y="48169"/>
                  </a:lnTo>
                  <a:lnTo>
                    <a:pt x="11167" y="47566"/>
                  </a:lnTo>
                  <a:lnTo>
                    <a:pt x="11831" y="47083"/>
                  </a:lnTo>
                  <a:lnTo>
                    <a:pt x="12495" y="46600"/>
                  </a:lnTo>
                  <a:lnTo>
                    <a:pt x="13159" y="46238"/>
                  </a:lnTo>
                  <a:lnTo>
                    <a:pt x="13763" y="45936"/>
                  </a:lnTo>
                  <a:lnTo>
                    <a:pt x="14910" y="45393"/>
                  </a:lnTo>
                  <a:lnTo>
                    <a:pt x="15815" y="45030"/>
                  </a:lnTo>
                  <a:lnTo>
                    <a:pt x="17324" y="44608"/>
                  </a:lnTo>
                  <a:lnTo>
                    <a:pt x="18833" y="44306"/>
                  </a:lnTo>
                  <a:lnTo>
                    <a:pt x="20342" y="44004"/>
                  </a:lnTo>
                  <a:lnTo>
                    <a:pt x="21731" y="43823"/>
                  </a:lnTo>
                  <a:lnTo>
                    <a:pt x="22998" y="43702"/>
                  </a:lnTo>
                  <a:lnTo>
                    <a:pt x="24085" y="43642"/>
                  </a:lnTo>
                  <a:lnTo>
                    <a:pt x="25413" y="43582"/>
                  </a:lnTo>
                  <a:close/>
                  <a:moveTo>
                    <a:pt x="26680" y="1"/>
                  </a:moveTo>
                  <a:lnTo>
                    <a:pt x="24749" y="61"/>
                  </a:lnTo>
                  <a:lnTo>
                    <a:pt x="22757" y="182"/>
                  </a:lnTo>
                  <a:lnTo>
                    <a:pt x="21731" y="303"/>
                  </a:lnTo>
                  <a:lnTo>
                    <a:pt x="20705" y="484"/>
                  </a:lnTo>
                  <a:lnTo>
                    <a:pt x="19678" y="665"/>
                  </a:lnTo>
                  <a:lnTo>
                    <a:pt x="18652" y="906"/>
                  </a:lnTo>
                  <a:lnTo>
                    <a:pt x="17566" y="1208"/>
                  </a:lnTo>
                  <a:lnTo>
                    <a:pt x="16540" y="1570"/>
                  </a:lnTo>
                  <a:lnTo>
                    <a:pt x="15453" y="1932"/>
                  </a:lnTo>
                  <a:lnTo>
                    <a:pt x="14427" y="2415"/>
                  </a:lnTo>
                  <a:lnTo>
                    <a:pt x="13401" y="2959"/>
                  </a:lnTo>
                  <a:lnTo>
                    <a:pt x="12375" y="3562"/>
                  </a:lnTo>
                  <a:lnTo>
                    <a:pt x="11349" y="4226"/>
                  </a:lnTo>
                  <a:lnTo>
                    <a:pt x="10383" y="5011"/>
                  </a:lnTo>
                  <a:lnTo>
                    <a:pt x="9658" y="5675"/>
                  </a:lnTo>
                  <a:lnTo>
                    <a:pt x="8994" y="6339"/>
                  </a:lnTo>
                  <a:lnTo>
                    <a:pt x="8391" y="7003"/>
                  </a:lnTo>
                  <a:lnTo>
                    <a:pt x="7848" y="7727"/>
                  </a:lnTo>
                  <a:lnTo>
                    <a:pt x="7304" y="8512"/>
                  </a:lnTo>
                  <a:lnTo>
                    <a:pt x="6821" y="9236"/>
                  </a:lnTo>
                  <a:lnTo>
                    <a:pt x="6399" y="10021"/>
                  </a:lnTo>
                  <a:lnTo>
                    <a:pt x="5976" y="10806"/>
                  </a:lnTo>
                  <a:lnTo>
                    <a:pt x="5675" y="11590"/>
                  </a:lnTo>
                  <a:lnTo>
                    <a:pt x="5373" y="12375"/>
                  </a:lnTo>
                  <a:lnTo>
                    <a:pt x="5131" y="13220"/>
                  </a:lnTo>
                  <a:lnTo>
                    <a:pt x="4950" y="14005"/>
                  </a:lnTo>
                  <a:lnTo>
                    <a:pt x="4769" y="14789"/>
                  </a:lnTo>
                  <a:lnTo>
                    <a:pt x="4648" y="15634"/>
                  </a:lnTo>
                  <a:lnTo>
                    <a:pt x="4588" y="16419"/>
                  </a:lnTo>
                  <a:lnTo>
                    <a:pt x="4588" y="17204"/>
                  </a:lnTo>
                  <a:lnTo>
                    <a:pt x="4648" y="18532"/>
                  </a:lnTo>
                  <a:lnTo>
                    <a:pt x="4830" y="19860"/>
                  </a:lnTo>
                  <a:lnTo>
                    <a:pt x="5131" y="21127"/>
                  </a:lnTo>
                  <a:lnTo>
                    <a:pt x="5554" y="22455"/>
                  </a:lnTo>
                  <a:lnTo>
                    <a:pt x="6097" y="23663"/>
                  </a:lnTo>
                  <a:lnTo>
                    <a:pt x="6821" y="24870"/>
                  </a:lnTo>
                  <a:lnTo>
                    <a:pt x="7606" y="25956"/>
                  </a:lnTo>
                  <a:lnTo>
                    <a:pt x="8512" y="26982"/>
                  </a:lnTo>
                  <a:lnTo>
                    <a:pt x="9538" y="27948"/>
                  </a:lnTo>
                  <a:lnTo>
                    <a:pt x="10081" y="28431"/>
                  </a:lnTo>
                  <a:lnTo>
                    <a:pt x="10624" y="28854"/>
                  </a:lnTo>
                  <a:lnTo>
                    <a:pt x="11228" y="29216"/>
                  </a:lnTo>
                  <a:lnTo>
                    <a:pt x="11892" y="29578"/>
                  </a:lnTo>
                  <a:lnTo>
                    <a:pt x="12556" y="29940"/>
                  </a:lnTo>
                  <a:lnTo>
                    <a:pt x="13220" y="30242"/>
                  </a:lnTo>
                  <a:lnTo>
                    <a:pt x="13944" y="30544"/>
                  </a:lnTo>
                  <a:lnTo>
                    <a:pt x="14668" y="30785"/>
                  </a:lnTo>
                  <a:lnTo>
                    <a:pt x="15453" y="30966"/>
                  </a:lnTo>
                  <a:lnTo>
                    <a:pt x="16238" y="31147"/>
                  </a:lnTo>
                  <a:lnTo>
                    <a:pt x="17083" y="31328"/>
                  </a:lnTo>
                  <a:lnTo>
                    <a:pt x="17928" y="31389"/>
                  </a:lnTo>
                  <a:lnTo>
                    <a:pt x="18773" y="31449"/>
                  </a:lnTo>
                  <a:lnTo>
                    <a:pt x="19678" y="31509"/>
                  </a:lnTo>
                  <a:lnTo>
                    <a:pt x="21067" y="31449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2214" y="32113"/>
                  </a:lnTo>
                  <a:lnTo>
                    <a:pt x="21972" y="32898"/>
                  </a:lnTo>
                  <a:lnTo>
                    <a:pt x="21731" y="33803"/>
                  </a:lnTo>
                  <a:lnTo>
                    <a:pt x="21670" y="34286"/>
                  </a:lnTo>
                  <a:lnTo>
                    <a:pt x="21670" y="34829"/>
                  </a:lnTo>
                  <a:lnTo>
                    <a:pt x="21731" y="35855"/>
                  </a:lnTo>
                  <a:lnTo>
                    <a:pt x="21912" y="36761"/>
                  </a:lnTo>
                  <a:lnTo>
                    <a:pt x="22214" y="37606"/>
                  </a:lnTo>
                  <a:lnTo>
                    <a:pt x="22576" y="38391"/>
                  </a:lnTo>
                  <a:lnTo>
                    <a:pt x="22998" y="39115"/>
                  </a:lnTo>
                  <a:lnTo>
                    <a:pt x="23421" y="39779"/>
                  </a:lnTo>
                  <a:lnTo>
                    <a:pt x="24387" y="41047"/>
                  </a:lnTo>
                  <a:lnTo>
                    <a:pt x="22696" y="41167"/>
                  </a:lnTo>
                  <a:lnTo>
                    <a:pt x="20765" y="41348"/>
                  </a:lnTo>
                  <a:lnTo>
                    <a:pt x="18592" y="41590"/>
                  </a:lnTo>
                  <a:lnTo>
                    <a:pt x="16298" y="41952"/>
                  </a:lnTo>
                  <a:lnTo>
                    <a:pt x="15091" y="42193"/>
                  </a:lnTo>
                  <a:lnTo>
                    <a:pt x="13944" y="42435"/>
                  </a:lnTo>
                  <a:lnTo>
                    <a:pt x="12737" y="42797"/>
                  </a:lnTo>
                  <a:lnTo>
                    <a:pt x="11530" y="43159"/>
                  </a:lnTo>
                  <a:lnTo>
                    <a:pt x="10383" y="43582"/>
                  </a:lnTo>
                  <a:lnTo>
                    <a:pt x="9236" y="44065"/>
                  </a:lnTo>
                  <a:lnTo>
                    <a:pt x="8089" y="44608"/>
                  </a:lnTo>
                  <a:lnTo>
                    <a:pt x="7003" y="45211"/>
                  </a:lnTo>
                  <a:lnTo>
                    <a:pt x="6037" y="45815"/>
                  </a:lnTo>
                  <a:lnTo>
                    <a:pt x="5192" y="46479"/>
                  </a:lnTo>
                  <a:lnTo>
                    <a:pt x="4407" y="47143"/>
                  </a:lnTo>
                  <a:lnTo>
                    <a:pt x="3683" y="47867"/>
                  </a:lnTo>
                  <a:lnTo>
                    <a:pt x="3019" y="48531"/>
                  </a:lnTo>
                  <a:lnTo>
                    <a:pt x="2415" y="49256"/>
                  </a:lnTo>
                  <a:lnTo>
                    <a:pt x="1932" y="49980"/>
                  </a:lnTo>
                  <a:lnTo>
                    <a:pt x="1510" y="50765"/>
                  </a:lnTo>
                  <a:lnTo>
                    <a:pt x="1148" y="51489"/>
                  </a:lnTo>
                  <a:lnTo>
                    <a:pt x="785" y="52213"/>
                  </a:lnTo>
                  <a:lnTo>
                    <a:pt x="544" y="52938"/>
                  </a:lnTo>
                  <a:lnTo>
                    <a:pt x="363" y="53662"/>
                  </a:lnTo>
                  <a:lnTo>
                    <a:pt x="182" y="54326"/>
                  </a:lnTo>
                  <a:lnTo>
                    <a:pt x="121" y="55050"/>
                  </a:lnTo>
                  <a:lnTo>
                    <a:pt x="61" y="55714"/>
                  </a:lnTo>
                  <a:lnTo>
                    <a:pt x="1" y="56318"/>
                  </a:lnTo>
                  <a:lnTo>
                    <a:pt x="61" y="56982"/>
                  </a:lnTo>
                  <a:lnTo>
                    <a:pt x="61" y="57586"/>
                  </a:lnTo>
                  <a:lnTo>
                    <a:pt x="182" y="58189"/>
                  </a:lnTo>
                  <a:lnTo>
                    <a:pt x="302" y="58793"/>
                  </a:lnTo>
                  <a:lnTo>
                    <a:pt x="484" y="59396"/>
                  </a:lnTo>
                  <a:lnTo>
                    <a:pt x="665" y="60000"/>
                  </a:lnTo>
                  <a:lnTo>
                    <a:pt x="906" y="60604"/>
                  </a:lnTo>
                  <a:lnTo>
                    <a:pt x="1208" y="61207"/>
                  </a:lnTo>
                  <a:lnTo>
                    <a:pt x="1510" y="61750"/>
                  </a:lnTo>
                  <a:lnTo>
                    <a:pt x="1872" y="62354"/>
                  </a:lnTo>
                  <a:lnTo>
                    <a:pt x="2294" y="62897"/>
                  </a:lnTo>
                  <a:lnTo>
                    <a:pt x="2717" y="63380"/>
                  </a:lnTo>
                  <a:lnTo>
                    <a:pt x="3200" y="63923"/>
                  </a:lnTo>
                  <a:lnTo>
                    <a:pt x="3683" y="64406"/>
                  </a:lnTo>
                  <a:lnTo>
                    <a:pt x="4286" y="64889"/>
                  </a:lnTo>
                  <a:lnTo>
                    <a:pt x="4830" y="65372"/>
                  </a:lnTo>
                  <a:lnTo>
                    <a:pt x="5494" y="65795"/>
                  </a:lnTo>
                  <a:lnTo>
                    <a:pt x="6158" y="66217"/>
                  </a:lnTo>
                  <a:lnTo>
                    <a:pt x="6821" y="66640"/>
                  </a:lnTo>
                  <a:lnTo>
                    <a:pt x="7606" y="67002"/>
                  </a:lnTo>
                  <a:lnTo>
                    <a:pt x="8391" y="67364"/>
                  </a:lnTo>
                  <a:lnTo>
                    <a:pt x="9176" y="67666"/>
                  </a:lnTo>
                  <a:lnTo>
                    <a:pt x="10021" y="67968"/>
                  </a:lnTo>
                  <a:lnTo>
                    <a:pt x="10926" y="68269"/>
                  </a:lnTo>
                  <a:lnTo>
                    <a:pt x="11892" y="68511"/>
                  </a:lnTo>
                  <a:lnTo>
                    <a:pt x="12858" y="68692"/>
                  </a:lnTo>
                  <a:lnTo>
                    <a:pt x="13884" y="68873"/>
                  </a:lnTo>
                  <a:lnTo>
                    <a:pt x="14970" y="69054"/>
                  </a:lnTo>
                  <a:lnTo>
                    <a:pt x="16057" y="69175"/>
                  </a:lnTo>
                  <a:lnTo>
                    <a:pt x="17204" y="69235"/>
                  </a:lnTo>
                  <a:lnTo>
                    <a:pt x="18350" y="69296"/>
                  </a:lnTo>
                  <a:lnTo>
                    <a:pt x="19558" y="69356"/>
                  </a:lnTo>
                  <a:lnTo>
                    <a:pt x="21006" y="69296"/>
                  </a:lnTo>
                  <a:lnTo>
                    <a:pt x="22395" y="69235"/>
                  </a:lnTo>
                  <a:lnTo>
                    <a:pt x="23783" y="69115"/>
                  </a:lnTo>
                  <a:lnTo>
                    <a:pt x="25111" y="68933"/>
                  </a:lnTo>
                  <a:lnTo>
                    <a:pt x="26379" y="68752"/>
                  </a:lnTo>
                  <a:lnTo>
                    <a:pt x="27586" y="68451"/>
                  </a:lnTo>
                  <a:lnTo>
                    <a:pt x="28793" y="68209"/>
                  </a:lnTo>
                  <a:lnTo>
                    <a:pt x="29940" y="67847"/>
                  </a:lnTo>
                  <a:lnTo>
                    <a:pt x="31026" y="67485"/>
                  </a:lnTo>
                  <a:lnTo>
                    <a:pt x="32052" y="67062"/>
                  </a:lnTo>
                  <a:lnTo>
                    <a:pt x="33079" y="66640"/>
                  </a:lnTo>
                  <a:lnTo>
                    <a:pt x="34044" y="66157"/>
                  </a:lnTo>
                  <a:lnTo>
                    <a:pt x="34950" y="65614"/>
                  </a:lnTo>
                  <a:lnTo>
                    <a:pt x="35795" y="65131"/>
                  </a:lnTo>
                  <a:lnTo>
                    <a:pt x="36640" y="64527"/>
                  </a:lnTo>
                  <a:lnTo>
                    <a:pt x="37425" y="63923"/>
                  </a:lnTo>
                  <a:lnTo>
                    <a:pt x="38149" y="63320"/>
                  </a:lnTo>
                  <a:lnTo>
                    <a:pt x="38813" y="62656"/>
                  </a:lnTo>
                  <a:lnTo>
                    <a:pt x="39477" y="62052"/>
                  </a:lnTo>
                  <a:lnTo>
                    <a:pt x="40081" y="61328"/>
                  </a:lnTo>
                  <a:lnTo>
                    <a:pt x="40624" y="60664"/>
                  </a:lnTo>
                  <a:lnTo>
                    <a:pt x="41107" y="59940"/>
                  </a:lnTo>
                  <a:lnTo>
                    <a:pt x="41529" y="59155"/>
                  </a:lnTo>
                  <a:lnTo>
                    <a:pt x="41952" y="58431"/>
                  </a:lnTo>
                  <a:lnTo>
                    <a:pt x="42314" y="57646"/>
                  </a:lnTo>
                  <a:lnTo>
                    <a:pt x="42616" y="56922"/>
                  </a:lnTo>
                  <a:lnTo>
                    <a:pt x="42917" y="56137"/>
                  </a:lnTo>
                  <a:lnTo>
                    <a:pt x="43099" y="55352"/>
                  </a:lnTo>
                  <a:lnTo>
                    <a:pt x="43280" y="54567"/>
                  </a:lnTo>
                  <a:lnTo>
                    <a:pt x="43400" y="53722"/>
                  </a:lnTo>
                  <a:lnTo>
                    <a:pt x="43461" y="52938"/>
                  </a:lnTo>
                  <a:lnTo>
                    <a:pt x="43521" y="52153"/>
                  </a:lnTo>
                  <a:lnTo>
                    <a:pt x="43461" y="51006"/>
                  </a:lnTo>
                  <a:lnTo>
                    <a:pt x="43340" y="49920"/>
                  </a:lnTo>
                  <a:lnTo>
                    <a:pt x="43159" y="48894"/>
                  </a:lnTo>
                  <a:lnTo>
                    <a:pt x="42857" y="47988"/>
                  </a:lnTo>
                  <a:lnTo>
                    <a:pt x="42555" y="47083"/>
                  </a:lnTo>
                  <a:lnTo>
                    <a:pt x="42133" y="46238"/>
                  </a:lnTo>
                  <a:lnTo>
                    <a:pt x="41710" y="45453"/>
                  </a:lnTo>
                  <a:lnTo>
                    <a:pt x="41167" y="44668"/>
                  </a:lnTo>
                  <a:lnTo>
                    <a:pt x="40624" y="43944"/>
                  </a:lnTo>
                  <a:lnTo>
                    <a:pt x="40020" y="43280"/>
                  </a:lnTo>
                  <a:lnTo>
                    <a:pt x="39417" y="42556"/>
                  </a:lnTo>
                  <a:lnTo>
                    <a:pt x="38753" y="41952"/>
                  </a:lnTo>
                  <a:lnTo>
                    <a:pt x="37364" y="40684"/>
                  </a:lnTo>
                  <a:lnTo>
                    <a:pt x="35855" y="39417"/>
                  </a:lnTo>
                  <a:lnTo>
                    <a:pt x="32596" y="36882"/>
                  </a:lnTo>
                  <a:lnTo>
                    <a:pt x="31811" y="36157"/>
                  </a:lnTo>
                  <a:lnTo>
                    <a:pt x="31388" y="35795"/>
                  </a:lnTo>
                  <a:lnTo>
                    <a:pt x="31026" y="35373"/>
                  </a:lnTo>
                  <a:lnTo>
                    <a:pt x="30725" y="34829"/>
                  </a:lnTo>
                  <a:lnTo>
                    <a:pt x="30423" y="34286"/>
                  </a:lnTo>
                  <a:lnTo>
                    <a:pt x="30302" y="33682"/>
                  </a:lnTo>
                  <a:lnTo>
                    <a:pt x="30242" y="32958"/>
                  </a:lnTo>
                  <a:lnTo>
                    <a:pt x="30302" y="32234"/>
                  </a:lnTo>
                  <a:lnTo>
                    <a:pt x="30423" y="31570"/>
                  </a:lnTo>
                  <a:lnTo>
                    <a:pt x="30725" y="30966"/>
                  </a:lnTo>
                  <a:lnTo>
                    <a:pt x="31026" y="30423"/>
                  </a:lnTo>
                  <a:lnTo>
                    <a:pt x="31449" y="29880"/>
                  </a:lnTo>
                  <a:lnTo>
                    <a:pt x="31871" y="29397"/>
                  </a:lnTo>
                  <a:lnTo>
                    <a:pt x="32777" y="28491"/>
                  </a:lnTo>
                  <a:lnTo>
                    <a:pt x="34165" y="27345"/>
                  </a:lnTo>
                  <a:lnTo>
                    <a:pt x="35553" y="26137"/>
                  </a:lnTo>
                  <a:lnTo>
                    <a:pt x="36217" y="25534"/>
                  </a:lnTo>
                  <a:lnTo>
                    <a:pt x="36881" y="24870"/>
                  </a:lnTo>
                  <a:lnTo>
                    <a:pt x="37485" y="24145"/>
                  </a:lnTo>
                  <a:lnTo>
                    <a:pt x="38028" y="23421"/>
                  </a:lnTo>
                  <a:lnTo>
                    <a:pt x="38511" y="22636"/>
                  </a:lnTo>
                  <a:lnTo>
                    <a:pt x="38994" y="21852"/>
                  </a:lnTo>
                  <a:lnTo>
                    <a:pt x="39417" y="20946"/>
                  </a:lnTo>
                  <a:lnTo>
                    <a:pt x="39718" y="19980"/>
                  </a:lnTo>
                  <a:lnTo>
                    <a:pt x="40020" y="19015"/>
                  </a:lnTo>
                  <a:lnTo>
                    <a:pt x="40262" y="17928"/>
                  </a:lnTo>
                  <a:lnTo>
                    <a:pt x="40382" y="16781"/>
                  </a:lnTo>
                  <a:lnTo>
                    <a:pt x="40382" y="15574"/>
                  </a:lnTo>
                  <a:lnTo>
                    <a:pt x="40382" y="14307"/>
                  </a:lnTo>
                  <a:lnTo>
                    <a:pt x="40201" y="13099"/>
                  </a:lnTo>
                  <a:lnTo>
                    <a:pt x="39960" y="12013"/>
                  </a:lnTo>
                  <a:lnTo>
                    <a:pt x="39718" y="10987"/>
                  </a:lnTo>
                  <a:lnTo>
                    <a:pt x="39356" y="10021"/>
                  </a:lnTo>
                  <a:lnTo>
                    <a:pt x="38934" y="9115"/>
                  </a:lnTo>
                  <a:lnTo>
                    <a:pt x="38451" y="8270"/>
                  </a:lnTo>
                  <a:lnTo>
                    <a:pt x="37968" y="7486"/>
                  </a:lnTo>
                  <a:lnTo>
                    <a:pt x="37425" y="6761"/>
                  </a:lnTo>
                  <a:lnTo>
                    <a:pt x="36881" y="6097"/>
                  </a:lnTo>
                  <a:lnTo>
                    <a:pt x="36398" y="5494"/>
                  </a:lnTo>
                  <a:lnTo>
                    <a:pt x="35855" y="4951"/>
                  </a:lnTo>
                  <a:lnTo>
                    <a:pt x="34829" y="4045"/>
                  </a:lnTo>
                  <a:lnTo>
                    <a:pt x="33924" y="3260"/>
                  </a:lnTo>
                  <a:lnTo>
                    <a:pt x="39598" y="3260"/>
                  </a:lnTo>
                  <a:lnTo>
                    <a:pt x="45392" y="1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7" name="Shape 147"/>
            <p:cNvSpPr/>
            <p:nvPr/>
          </p:nvSpPr>
          <p:spPr>
            <a:xfrm>
              <a:off x="4736525" y="2360250"/>
              <a:ext cx="496500" cy="647400"/>
            </a:xfrm>
            <a:custGeom>
              <a:avLst/>
              <a:gdLst/>
              <a:ahLst/>
              <a:cxnLst/>
              <a:rect l="0" t="0" r="0" b="0"/>
              <a:pathLst>
                <a:path w="19860" h="25896" fill="none" extrusionOk="0">
                  <a:moveTo>
                    <a:pt x="17566" y="23361"/>
                  </a:moveTo>
                  <a:lnTo>
                    <a:pt x="17566" y="23361"/>
                  </a:lnTo>
                  <a:lnTo>
                    <a:pt x="17928" y="22999"/>
                  </a:lnTo>
                  <a:lnTo>
                    <a:pt x="18290" y="22576"/>
                  </a:lnTo>
                  <a:lnTo>
                    <a:pt x="18532" y="22154"/>
                  </a:lnTo>
                  <a:lnTo>
                    <a:pt x="18833" y="21671"/>
                  </a:lnTo>
                  <a:lnTo>
                    <a:pt x="19196" y="20765"/>
                  </a:lnTo>
                  <a:lnTo>
                    <a:pt x="19497" y="19860"/>
                  </a:lnTo>
                  <a:lnTo>
                    <a:pt x="19679" y="19015"/>
                  </a:lnTo>
                  <a:lnTo>
                    <a:pt x="19799" y="18170"/>
                  </a:lnTo>
                  <a:lnTo>
                    <a:pt x="19860" y="17385"/>
                  </a:lnTo>
                  <a:lnTo>
                    <a:pt x="19860" y="16721"/>
                  </a:lnTo>
                  <a:lnTo>
                    <a:pt x="19860" y="16721"/>
                  </a:lnTo>
                  <a:lnTo>
                    <a:pt x="19799" y="15453"/>
                  </a:lnTo>
                  <a:lnTo>
                    <a:pt x="19679" y="14126"/>
                  </a:lnTo>
                  <a:lnTo>
                    <a:pt x="19437" y="12737"/>
                  </a:lnTo>
                  <a:lnTo>
                    <a:pt x="19135" y="11349"/>
                  </a:lnTo>
                  <a:lnTo>
                    <a:pt x="18713" y="9961"/>
                  </a:lnTo>
                  <a:lnTo>
                    <a:pt x="18230" y="8572"/>
                  </a:lnTo>
                  <a:lnTo>
                    <a:pt x="17626" y="7184"/>
                  </a:lnTo>
                  <a:lnTo>
                    <a:pt x="16962" y="5916"/>
                  </a:lnTo>
                  <a:lnTo>
                    <a:pt x="16178" y="4709"/>
                  </a:lnTo>
                  <a:lnTo>
                    <a:pt x="15333" y="3562"/>
                  </a:lnTo>
                  <a:lnTo>
                    <a:pt x="14850" y="3019"/>
                  </a:lnTo>
                  <a:lnTo>
                    <a:pt x="14367" y="2536"/>
                  </a:lnTo>
                  <a:lnTo>
                    <a:pt x="13884" y="2114"/>
                  </a:lnTo>
                  <a:lnTo>
                    <a:pt x="13341" y="1691"/>
                  </a:lnTo>
                  <a:lnTo>
                    <a:pt x="12797" y="1329"/>
                  </a:lnTo>
                  <a:lnTo>
                    <a:pt x="12254" y="967"/>
                  </a:lnTo>
                  <a:lnTo>
                    <a:pt x="11651" y="665"/>
                  </a:lnTo>
                  <a:lnTo>
                    <a:pt x="11047" y="424"/>
                  </a:lnTo>
                  <a:lnTo>
                    <a:pt x="10383" y="242"/>
                  </a:lnTo>
                  <a:lnTo>
                    <a:pt x="9779" y="122"/>
                  </a:lnTo>
                  <a:lnTo>
                    <a:pt x="9055" y="1"/>
                  </a:lnTo>
                  <a:lnTo>
                    <a:pt x="8391" y="1"/>
                  </a:lnTo>
                  <a:lnTo>
                    <a:pt x="8391" y="1"/>
                  </a:lnTo>
                  <a:lnTo>
                    <a:pt x="7486" y="61"/>
                  </a:lnTo>
                  <a:lnTo>
                    <a:pt x="6580" y="182"/>
                  </a:lnTo>
                  <a:lnTo>
                    <a:pt x="5735" y="484"/>
                  </a:lnTo>
                  <a:lnTo>
                    <a:pt x="4830" y="786"/>
                  </a:lnTo>
                  <a:lnTo>
                    <a:pt x="4045" y="1269"/>
                  </a:lnTo>
                  <a:lnTo>
                    <a:pt x="3260" y="1751"/>
                  </a:lnTo>
                  <a:lnTo>
                    <a:pt x="2596" y="2355"/>
                  </a:lnTo>
                  <a:lnTo>
                    <a:pt x="1993" y="3019"/>
                  </a:lnTo>
                  <a:lnTo>
                    <a:pt x="1993" y="3019"/>
                  </a:lnTo>
                  <a:lnTo>
                    <a:pt x="1510" y="3743"/>
                  </a:lnTo>
                  <a:lnTo>
                    <a:pt x="1027" y="4528"/>
                  </a:lnTo>
                  <a:lnTo>
                    <a:pt x="725" y="5373"/>
                  </a:lnTo>
                  <a:lnTo>
                    <a:pt x="423" y="6218"/>
                  </a:lnTo>
                  <a:lnTo>
                    <a:pt x="242" y="7063"/>
                  </a:lnTo>
                  <a:lnTo>
                    <a:pt x="122" y="7969"/>
                  </a:lnTo>
                  <a:lnTo>
                    <a:pt x="61" y="8814"/>
                  </a:lnTo>
                  <a:lnTo>
                    <a:pt x="1" y="9719"/>
                  </a:lnTo>
                  <a:lnTo>
                    <a:pt x="1" y="9719"/>
                  </a:lnTo>
                  <a:lnTo>
                    <a:pt x="61" y="10926"/>
                  </a:lnTo>
                  <a:lnTo>
                    <a:pt x="182" y="12194"/>
                  </a:lnTo>
                  <a:lnTo>
                    <a:pt x="363" y="13462"/>
                  </a:lnTo>
                  <a:lnTo>
                    <a:pt x="665" y="14850"/>
                  </a:lnTo>
                  <a:lnTo>
                    <a:pt x="1087" y="16178"/>
                  </a:lnTo>
                  <a:lnTo>
                    <a:pt x="1570" y="17506"/>
                  </a:lnTo>
                  <a:lnTo>
                    <a:pt x="2113" y="18834"/>
                  </a:lnTo>
                  <a:lnTo>
                    <a:pt x="2777" y="20101"/>
                  </a:lnTo>
                  <a:lnTo>
                    <a:pt x="3502" y="21308"/>
                  </a:lnTo>
                  <a:lnTo>
                    <a:pt x="4347" y="22395"/>
                  </a:lnTo>
                  <a:lnTo>
                    <a:pt x="4830" y="22938"/>
                  </a:lnTo>
                  <a:lnTo>
                    <a:pt x="5252" y="23421"/>
                  </a:lnTo>
                  <a:lnTo>
                    <a:pt x="5795" y="23844"/>
                  </a:lnTo>
                  <a:lnTo>
                    <a:pt x="6278" y="24266"/>
                  </a:lnTo>
                  <a:lnTo>
                    <a:pt x="6882" y="24628"/>
                  </a:lnTo>
                  <a:lnTo>
                    <a:pt x="7425" y="24930"/>
                  </a:lnTo>
                  <a:lnTo>
                    <a:pt x="8029" y="25232"/>
                  </a:lnTo>
                  <a:lnTo>
                    <a:pt x="8632" y="25473"/>
                  </a:lnTo>
                  <a:lnTo>
                    <a:pt x="9296" y="25654"/>
                  </a:lnTo>
                  <a:lnTo>
                    <a:pt x="9960" y="25836"/>
                  </a:lnTo>
                  <a:lnTo>
                    <a:pt x="10685" y="25896"/>
                  </a:lnTo>
                  <a:lnTo>
                    <a:pt x="11409" y="25896"/>
                  </a:lnTo>
                  <a:lnTo>
                    <a:pt x="11409" y="25896"/>
                  </a:lnTo>
                  <a:lnTo>
                    <a:pt x="12254" y="25896"/>
                  </a:lnTo>
                  <a:lnTo>
                    <a:pt x="13099" y="25715"/>
                  </a:lnTo>
                  <a:lnTo>
                    <a:pt x="13944" y="25473"/>
                  </a:lnTo>
                  <a:lnTo>
                    <a:pt x="14789" y="25172"/>
                  </a:lnTo>
                  <a:lnTo>
                    <a:pt x="15574" y="24809"/>
                  </a:lnTo>
                  <a:lnTo>
                    <a:pt x="16298" y="24387"/>
                  </a:lnTo>
                  <a:lnTo>
                    <a:pt x="16962" y="23904"/>
                  </a:lnTo>
                  <a:lnTo>
                    <a:pt x="17566" y="233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8" name="Shape 148"/>
            <p:cNvSpPr/>
            <p:nvPr/>
          </p:nvSpPr>
          <p:spPr>
            <a:xfrm>
              <a:off x="4623350" y="3374325"/>
              <a:ext cx="734925" cy="547800"/>
            </a:xfrm>
            <a:custGeom>
              <a:avLst/>
              <a:gdLst/>
              <a:ahLst/>
              <a:cxnLst/>
              <a:rect l="0" t="0" r="0" b="0"/>
              <a:pathLst>
                <a:path w="29397" h="21912" fill="none" extrusionOk="0">
                  <a:moveTo>
                    <a:pt x="19437" y="121"/>
                  </a:moveTo>
                  <a:lnTo>
                    <a:pt x="19437" y="121"/>
                  </a:lnTo>
                  <a:lnTo>
                    <a:pt x="18471" y="1"/>
                  </a:lnTo>
                  <a:lnTo>
                    <a:pt x="17385" y="1"/>
                  </a:lnTo>
                  <a:lnTo>
                    <a:pt x="17385" y="1"/>
                  </a:lnTo>
                  <a:lnTo>
                    <a:pt x="16057" y="61"/>
                  </a:lnTo>
                  <a:lnTo>
                    <a:pt x="14970" y="121"/>
                  </a:lnTo>
                  <a:lnTo>
                    <a:pt x="13703" y="242"/>
                  </a:lnTo>
                  <a:lnTo>
                    <a:pt x="12314" y="423"/>
                  </a:lnTo>
                  <a:lnTo>
                    <a:pt x="10805" y="725"/>
                  </a:lnTo>
                  <a:lnTo>
                    <a:pt x="9296" y="1027"/>
                  </a:lnTo>
                  <a:lnTo>
                    <a:pt x="7787" y="1449"/>
                  </a:lnTo>
                  <a:lnTo>
                    <a:pt x="7787" y="1449"/>
                  </a:lnTo>
                  <a:lnTo>
                    <a:pt x="6882" y="1812"/>
                  </a:lnTo>
                  <a:lnTo>
                    <a:pt x="5735" y="2355"/>
                  </a:lnTo>
                  <a:lnTo>
                    <a:pt x="5131" y="2657"/>
                  </a:lnTo>
                  <a:lnTo>
                    <a:pt x="4467" y="3019"/>
                  </a:lnTo>
                  <a:lnTo>
                    <a:pt x="3803" y="3502"/>
                  </a:lnTo>
                  <a:lnTo>
                    <a:pt x="3139" y="3985"/>
                  </a:lnTo>
                  <a:lnTo>
                    <a:pt x="2536" y="4588"/>
                  </a:lnTo>
                  <a:lnTo>
                    <a:pt x="1932" y="5192"/>
                  </a:lnTo>
                  <a:lnTo>
                    <a:pt x="1389" y="5916"/>
                  </a:lnTo>
                  <a:lnTo>
                    <a:pt x="906" y="6761"/>
                  </a:lnTo>
                  <a:lnTo>
                    <a:pt x="544" y="7606"/>
                  </a:lnTo>
                  <a:lnTo>
                    <a:pt x="242" y="8632"/>
                  </a:lnTo>
                  <a:lnTo>
                    <a:pt x="61" y="9659"/>
                  </a:lnTo>
                  <a:lnTo>
                    <a:pt x="1" y="10805"/>
                  </a:lnTo>
                  <a:lnTo>
                    <a:pt x="1" y="10805"/>
                  </a:lnTo>
                  <a:lnTo>
                    <a:pt x="1" y="11409"/>
                  </a:lnTo>
                  <a:lnTo>
                    <a:pt x="61" y="12013"/>
                  </a:lnTo>
                  <a:lnTo>
                    <a:pt x="182" y="12616"/>
                  </a:lnTo>
                  <a:lnTo>
                    <a:pt x="303" y="13159"/>
                  </a:lnTo>
                  <a:lnTo>
                    <a:pt x="423" y="13703"/>
                  </a:lnTo>
                  <a:lnTo>
                    <a:pt x="665" y="14246"/>
                  </a:lnTo>
                  <a:lnTo>
                    <a:pt x="1148" y="15272"/>
                  </a:lnTo>
                  <a:lnTo>
                    <a:pt x="1751" y="16298"/>
                  </a:lnTo>
                  <a:lnTo>
                    <a:pt x="2476" y="17204"/>
                  </a:lnTo>
                  <a:lnTo>
                    <a:pt x="3381" y="18049"/>
                  </a:lnTo>
                  <a:lnTo>
                    <a:pt x="4347" y="18833"/>
                  </a:lnTo>
                  <a:lnTo>
                    <a:pt x="5433" y="19497"/>
                  </a:lnTo>
                  <a:lnTo>
                    <a:pt x="6640" y="20101"/>
                  </a:lnTo>
                  <a:lnTo>
                    <a:pt x="7968" y="20644"/>
                  </a:lnTo>
                  <a:lnTo>
                    <a:pt x="9417" y="21127"/>
                  </a:lnTo>
                  <a:lnTo>
                    <a:pt x="10926" y="21489"/>
                  </a:lnTo>
                  <a:lnTo>
                    <a:pt x="12495" y="21731"/>
                  </a:lnTo>
                  <a:lnTo>
                    <a:pt x="14246" y="21851"/>
                  </a:lnTo>
                  <a:lnTo>
                    <a:pt x="15996" y="21912"/>
                  </a:lnTo>
                  <a:lnTo>
                    <a:pt x="15996" y="21912"/>
                  </a:lnTo>
                  <a:lnTo>
                    <a:pt x="17566" y="21912"/>
                  </a:lnTo>
                  <a:lnTo>
                    <a:pt x="19075" y="21731"/>
                  </a:lnTo>
                  <a:lnTo>
                    <a:pt x="20463" y="21489"/>
                  </a:lnTo>
                  <a:lnTo>
                    <a:pt x="21791" y="21187"/>
                  </a:lnTo>
                  <a:lnTo>
                    <a:pt x="22998" y="20765"/>
                  </a:lnTo>
                  <a:lnTo>
                    <a:pt x="24085" y="20282"/>
                  </a:lnTo>
                  <a:lnTo>
                    <a:pt x="25051" y="19739"/>
                  </a:lnTo>
                  <a:lnTo>
                    <a:pt x="25956" y="19135"/>
                  </a:lnTo>
                  <a:lnTo>
                    <a:pt x="26741" y="18471"/>
                  </a:lnTo>
                  <a:lnTo>
                    <a:pt x="27465" y="17687"/>
                  </a:lnTo>
                  <a:lnTo>
                    <a:pt x="28008" y="16902"/>
                  </a:lnTo>
                  <a:lnTo>
                    <a:pt x="28491" y="15996"/>
                  </a:lnTo>
                  <a:lnTo>
                    <a:pt x="28914" y="15091"/>
                  </a:lnTo>
                  <a:lnTo>
                    <a:pt x="29155" y="14125"/>
                  </a:lnTo>
                  <a:lnTo>
                    <a:pt x="29336" y="13159"/>
                  </a:lnTo>
                  <a:lnTo>
                    <a:pt x="29397" y="12133"/>
                  </a:lnTo>
                  <a:lnTo>
                    <a:pt x="29397" y="12133"/>
                  </a:lnTo>
                  <a:lnTo>
                    <a:pt x="29336" y="11288"/>
                  </a:lnTo>
                  <a:lnTo>
                    <a:pt x="29216" y="10443"/>
                  </a:lnTo>
                  <a:lnTo>
                    <a:pt x="29034" y="9719"/>
                  </a:lnTo>
                  <a:lnTo>
                    <a:pt x="28793" y="8934"/>
                  </a:lnTo>
                  <a:lnTo>
                    <a:pt x="28491" y="8270"/>
                  </a:lnTo>
                  <a:lnTo>
                    <a:pt x="28069" y="7546"/>
                  </a:lnTo>
                  <a:lnTo>
                    <a:pt x="27586" y="6882"/>
                  </a:lnTo>
                  <a:lnTo>
                    <a:pt x="26982" y="6218"/>
                  </a:lnTo>
                  <a:lnTo>
                    <a:pt x="26379" y="5494"/>
                  </a:lnTo>
                  <a:lnTo>
                    <a:pt x="25654" y="4830"/>
                  </a:lnTo>
                  <a:lnTo>
                    <a:pt x="24809" y="4105"/>
                  </a:lnTo>
                  <a:lnTo>
                    <a:pt x="23904" y="3381"/>
                  </a:lnTo>
                  <a:lnTo>
                    <a:pt x="21851" y="1812"/>
                  </a:lnTo>
                  <a:lnTo>
                    <a:pt x="19437" y="1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49" name="Shape 149"/>
            <p:cNvSpPr/>
            <p:nvPr/>
          </p:nvSpPr>
          <p:spPr>
            <a:xfrm>
              <a:off x="4422650" y="2284800"/>
              <a:ext cx="1134825" cy="1733900"/>
            </a:xfrm>
            <a:custGeom>
              <a:avLst/>
              <a:gdLst/>
              <a:ahLst/>
              <a:cxnLst/>
              <a:rect l="0" t="0" r="0" b="0"/>
              <a:pathLst>
                <a:path w="45393" h="69356" fill="none" extrusionOk="0">
                  <a:moveTo>
                    <a:pt x="33924" y="3260"/>
                  </a:moveTo>
                  <a:lnTo>
                    <a:pt x="33924" y="3260"/>
                  </a:lnTo>
                  <a:lnTo>
                    <a:pt x="34829" y="4045"/>
                  </a:lnTo>
                  <a:lnTo>
                    <a:pt x="35855" y="4951"/>
                  </a:lnTo>
                  <a:lnTo>
                    <a:pt x="36398" y="5494"/>
                  </a:lnTo>
                  <a:lnTo>
                    <a:pt x="36881" y="6097"/>
                  </a:lnTo>
                  <a:lnTo>
                    <a:pt x="37425" y="6761"/>
                  </a:lnTo>
                  <a:lnTo>
                    <a:pt x="37968" y="7486"/>
                  </a:lnTo>
                  <a:lnTo>
                    <a:pt x="38451" y="8270"/>
                  </a:lnTo>
                  <a:lnTo>
                    <a:pt x="38934" y="9115"/>
                  </a:lnTo>
                  <a:lnTo>
                    <a:pt x="39356" y="10021"/>
                  </a:lnTo>
                  <a:lnTo>
                    <a:pt x="39718" y="10987"/>
                  </a:lnTo>
                  <a:lnTo>
                    <a:pt x="39960" y="12013"/>
                  </a:lnTo>
                  <a:lnTo>
                    <a:pt x="40201" y="13099"/>
                  </a:lnTo>
                  <a:lnTo>
                    <a:pt x="40382" y="14307"/>
                  </a:lnTo>
                  <a:lnTo>
                    <a:pt x="40382" y="15574"/>
                  </a:lnTo>
                  <a:lnTo>
                    <a:pt x="40382" y="15574"/>
                  </a:lnTo>
                  <a:lnTo>
                    <a:pt x="40382" y="16781"/>
                  </a:lnTo>
                  <a:lnTo>
                    <a:pt x="40262" y="17928"/>
                  </a:lnTo>
                  <a:lnTo>
                    <a:pt x="40020" y="19015"/>
                  </a:lnTo>
                  <a:lnTo>
                    <a:pt x="39718" y="19980"/>
                  </a:lnTo>
                  <a:lnTo>
                    <a:pt x="39417" y="20946"/>
                  </a:lnTo>
                  <a:lnTo>
                    <a:pt x="38994" y="21852"/>
                  </a:lnTo>
                  <a:lnTo>
                    <a:pt x="38511" y="22636"/>
                  </a:lnTo>
                  <a:lnTo>
                    <a:pt x="38028" y="23421"/>
                  </a:lnTo>
                  <a:lnTo>
                    <a:pt x="37485" y="24145"/>
                  </a:lnTo>
                  <a:lnTo>
                    <a:pt x="36881" y="24870"/>
                  </a:lnTo>
                  <a:lnTo>
                    <a:pt x="36217" y="25534"/>
                  </a:lnTo>
                  <a:lnTo>
                    <a:pt x="35553" y="26137"/>
                  </a:lnTo>
                  <a:lnTo>
                    <a:pt x="34165" y="27345"/>
                  </a:lnTo>
                  <a:lnTo>
                    <a:pt x="32777" y="28491"/>
                  </a:lnTo>
                  <a:lnTo>
                    <a:pt x="32777" y="28491"/>
                  </a:lnTo>
                  <a:lnTo>
                    <a:pt x="31871" y="29397"/>
                  </a:lnTo>
                  <a:lnTo>
                    <a:pt x="31449" y="29880"/>
                  </a:lnTo>
                  <a:lnTo>
                    <a:pt x="31026" y="30423"/>
                  </a:lnTo>
                  <a:lnTo>
                    <a:pt x="30725" y="30966"/>
                  </a:lnTo>
                  <a:lnTo>
                    <a:pt x="30423" y="31570"/>
                  </a:lnTo>
                  <a:lnTo>
                    <a:pt x="30302" y="32234"/>
                  </a:lnTo>
                  <a:lnTo>
                    <a:pt x="30242" y="32958"/>
                  </a:lnTo>
                  <a:lnTo>
                    <a:pt x="30242" y="32958"/>
                  </a:lnTo>
                  <a:lnTo>
                    <a:pt x="30302" y="33682"/>
                  </a:lnTo>
                  <a:lnTo>
                    <a:pt x="30423" y="34286"/>
                  </a:lnTo>
                  <a:lnTo>
                    <a:pt x="30725" y="34829"/>
                  </a:lnTo>
                  <a:lnTo>
                    <a:pt x="31026" y="35373"/>
                  </a:lnTo>
                  <a:lnTo>
                    <a:pt x="31388" y="35795"/>
                  </a:lnTo>
                  <a:lnTo>
                    <a:pt x="31811" y="36157"/>
                  </a:lnTo>
                  <a:lnTo>
                    <a:pt x="32596" y="36882"/>
                  </a:lnTo>
                  <a:lnTo>
                    <a:pt x="35855" y="39417"/>
                  </a:lnTo>
                  <a:lnTo>
                    <a:pt x="35855" y="39417"/>
                  </a:lnTo>
                  <a:lnTo>
                    <a:pt x="37364" y="40684"/>
                  </a:lnTo>
                  <a:lnTo>
                    <a:pt x="38753" y="41952"/>
                  </a:lnTo>
                  <a:lnTo>
                    <a:pt x="39417" y="42556"/>
                  </a:lnTo>
                  <a:lnTo>
                    <a:pt x="40020" y="43280"/>
                  </a:lnTo>
                  <a:lnTo>
                    <a:pt x="40624" y="43944"/>
                  </a:lnTo>
                  <a:lnTo>
                    <a:pt x="41167" y="44668"/>
                  </a:lnTo>
                  <a:lnTo>
                    <a:pt x="41710" y="45453"/>
                  </a:lnTo>
                  <a:lnTo>
                    <a:pt x="42133" y="46238"/>
                  </a:lnTo>
                  <a:lnTo>
                    <a:pt x="42555" y="47083"/>
                  </a:lnTo>
                  <a:lnTo>
                    <a:pt x="42857" y="47988"/>
                  </a:lnTo>
                  <a:lnTo>
                    <a:pt x="43159" y="48894"/>
                  </a:lnTo>
                  <a:lnTo>
                    <a:pt x="43340" y="49920"/>
                  </a:lnTo>
                  <a:lnTo>
                    <a:pt x="43461" y="51006"/>
                  </a:lnTo>
                  <a:lnTo>
                    <a:pt x="43521" y="52153"/>
                  </a:lnTo>
                  <a:lnTo>
                    <a:pt x="43521" y="52153"/>
                  </a:lnTo>
                  <a:lnTo>
                    <a:pt x="43461" y="52938"/>
                  </a:lnTo>
                  <a:lnTo>
                    <a:pt x="43400" y="53722"/>
                  </a:lnTo>
                  <a:lnTo>
                    <a:pt x="43280" y="54567"/>
                  </a:lnTo>
                  <a:lnTo>
                    <a:pt x="43099" y="55352"/>
                  </a:lnTo>
                  <a:lnTo>
                    <a:pt x="42917" y="56137"/>
                  </a:lnTo>
                  <a:lnTo>
                    <a:pt x="42616" y="56922"/>
                  </a:lnTo>
                  <a:lnTo>
                    <a:pt x="42314" y="57646"/>
                  </a:lnTo>
                  <a:lnTo>
                    <a:pt x="41952" y="58431"/>
                  </a:lnTo>
                  <a:lnTo>
                    <a:pt x="41529" y="59155"/>
                  </a:lnTo>
                  <a:lnTo>
                    <a:pt x="41107" y="59940"/>
                  </a:lnTo>
                  <a:lnTo>
                    <a:pt x="40624" y="60664"/>
                  </a:lnTo>
                  <a:lnTo>
                    <a:pt x="40081" y="61328"/>
                  </a:lnTo>
                  <a:lnTo>
                    <a:pt x="39477" y="62052"/>
                  </a:lnTo>
                  <a:lnTo>
                    <a:pt x="38813" y="62656"/>
                  </a:lnTo>
                  <a:lnTo>
                    <a:pt x="38149" y="63320"/>
                  </a:lnTo>
                  <a:lnTo>
                    <a:pt x="37425" y="63923"/>
                  </a:lnTo>
                  <a:lnTo>
                    <a:pt x="36640" y="64527"/>
                  </a:lnTo>
                  <a:lnTo>
                    <a:pt x="35795" y="65131"/>
                  </a:lnTo>
                  <a:lnTo>
                    <a:pt x="34950" y="65614"/>
                  </a:lnTo>
                  <a:lnTo>
                    <a:pt x="34044" y="66157"/>
                  </a:lnTo>
                  <a:lnTo>
                    <a:pt x="33079" y="66640"/>
                  </a:lnTo>
                  <a:lnTo>
                    <a:pt x="32052" y="67062"/>
                  </a:lnTo>
                  <a:lnTo>
                    <a:pt x="31026" y="67485"/>
                  </a:lnTo>
                  <a:lnTo>
                    <a:pt x="29940" y="67847"/>
                  </a:lnTo>
                  <a:lnTo>
                    <a:pt x="28793" y="68209"/>
                  </a:lnTo>
                  <a:lnTo>
                    <a:pt x="27586" y="68451"/>
                  </a:lnTo>
                  <a:lnTo>
                    <a:pt x="26379" y="68752"/>
                  </a:lnTo>
                  <a:lnTo>
                    <a:pt x="25111" y="68933"/>
                  </a:lnTo>
                  <a:lnTo>
                    <a:pt x="23783" y="69115"/>
                  </a:lnTo>
                  <a:lnTo>
                    <a:pt x="22395" y="69235"/>
                  </a:lnTo>
                  <a:lnTo>
                    <a:pt x="21006" y="69296"/>
                  </a:lnTo>
                  <a:lnTo>
                    <a:pt x="19558" y="69356"/>
                  </a:lnTo>
                  <a:lnTo>
                    <a:pt x="19558" y="69356"/>
                  </a:lnTo>
                  <a:lnTo>
                    <a:pt x="18350" y="69296"/>
                  </a:lnTo>
                  <a:lnTo>
                    <a:pt x="17204" y="69235"/>
                  </a:lnTo>
                  <a:lnTo>
                    <a:pt x="16057" y="69175"/>
                  </a:lnTo>
                  <a:lnTo>
                    <a:pt x="14970" y="69054"/>
                  </a:lnTo>
                  <a:lnTo>
                    <a:pt x="13884" y="68873"/>
                  </a:lnTo>
                  <a:lnTo>
                    <a:pt x="12858" y="68692"/>
                  </a:lnTo>
                  <a:lnTo>
                    <a:pt x="11892" y="68511"/>
                  </a:lnTo>
                  <a:lnTo>
                    <a:pt x="10926" y="68269"/>
                  </a:lnTo>
                  <a:lnTo>
                    <a:pt x="10021" y="67968"/>
                  </a:lnTo>
                  <a:lnTo>
                    <a:pt x="9176" y="67666"/>
                  </a:lnTo>
                  <a:lnTo>
                    <a:pt x="8391" y="67364"/>
                  </a:lnTo>
                  <a:lnTo>
                    <a:pt x="7606" y="67002"/>
                  </a:lnTo>
                  <a:lnTo>
                    <a:pt x="6821" y="66640"/>
                  </a:lnTo>
                  <a:lnTo>
                    <a:pt x="6158" y="66217"/>
                  </a:lnTo>
                  <a:lnTo>
                    <a:pt x="5494" y="65795"/>
                  </a:lnTo>
                  <a:lnTo>
                    <a:pt x="4830" y="65372"/>
                  </a:lnTo>
                  <a:lnTo>
                    <a:pt x="4286" y="64889"/>
                  </a:lnTo>
                  <a:lnTo>
                    <a:pt x="3683" y="64406"/>
                  </a:lnTo>
                  <a:lnTo>
                    <a:pt x="3200" y="63923"/>
                  </a:lnTo>
                  <a:lnTo>
                    <a:pt x="2717" y="63380"/>
                  </a:lnTo>
                  <a:lnTo>
                    <a:pt x="2294" y="62897"/>
                  </a:lnTo>
                  <a:lnTo>
                    <a:pt x="1872" y="62354"/>
                  </a:lnTo>
                  <a:lnTo>
                    <a:pt x="1510" y="61750"/>
                  </a:lnTo>
                  <a:lnTo>
                    <a:pt x="1208" y="61207"/>
                  </a:lnTo>
                  <a:lnTo>
                    <a:pt x="906" y="60604"/>
                  </a:lnTo>
                  <a:lnTo>
                    <a:pt x="665" y="60000"/>
                  </a:lnTo>
                  <a:lnTo>
                    <a:pt x="484" y="59396"/>
                  </a:lnTo>
                  <a:lnTo>
                    <a:pt x="302" y="58793"/>
                  </a:lnTo>
                  <a:lnTo>
                    <a:pt x="182" y="58189"/>
                  </a:lnTo>
                  <a:lnTo>
                    <a:pt x="61" y="57586"/>
                  </a:lnTo>
                  <a:lnTo>
                    <a:pt x="61" y="56982"/>
                  </a:lnTo>
                  <a:lnTo>
                    <a:pt x="1" y="56318"/>
                  </a:lnTo>
                  <a:lnTo>
                    <a:pt x="1" y="56318"/>
                  </a:lnTo>
                  <a:lnTo>
                    <a:pt x="61" y="55714"/>
                  </a:lnTo>
                  <a:lnTo>
                    <a:pt x="121" y="55050"/>
                  </a:lnTo>
                  <a:lnTo>
                    <a:pt x="182" y="54326"/>
                  </a:lnTo>
                  <a:lnTo>
                    <a:pt x="363" y="53662"/>
                  </a:lnTo>
                  <a:lnTo>
                    <a:pt x="544" y="52938"/>
                  </a:lnTo>
                  <a:lnTo>
                    <a:pt x="785" y="52213"/>
                  </a:lnTo>
                  <a:lnTo>
                    <a:pt x="1148" y="51489"/>
                  </a:lnTo>
                  <a:lnTo>
                    <a:pt x="1510" y="50765"/>
                  </a:lnTo>
                  <a:lnTo>
                    <a:pt x="1932" y="49980"/>
                  </a:lnTo>
                  <a:lnTo>
                    <a:pt x="2415" y="49256"/>
                  </a:lnTo>
                  <a:lnTo>
                    <a:pt x="3019" y="48531"/>
                  </a:lnTo>
                  <a:lnTo>
                    <a:pt x="3683" y="47867"/>
                  </a:lnTo>
                  <a:lnTo>
                    <a:pt x="4407" y="47143"/>
                  </a:lnTo>
                  <a:lnTo>
                    <a:pt x="5192" y="46479"/>
                  </a:lnTo>
                  <a:lnTo>
                    <a:pt x="6037" y="45815"/>
                  </a:lnTo>
                  <a:lnTo>
                    <a:pt x="7003" y="45211"/>
                  </a:lnTo>
                  <a:lnTo>
                    <a:pt x="7003" y="45211"/>
                  </a:lnTo>
                  <a:lnTo>
                    <a:pt x="8089" y="44608"/>
                  </a:lnTo>
                  <a:lnTo>
                    <a:pt x="9236" y="44065"/>
                  </a:lnTo>
                  <a:lnTo>
                    <a:pt x="10383" y="43582"/>
                  </a:lnTo>
                  <a:lnTo>
                    <a:pt x="11530" y="43159"/>
                  </a:lnTo>
                  <a:lnTo>
                    <a:pt x="12737" y="42797"/>
                  </a:lnTo>
                  <a:lnTo>
                    <a:pt x="13944" y="42435"/>
                  </a:lnTo>
                  <a:lnTo>
                    <a:pt x="15091" y="42193"/>
                  </a:lnTo>
                  <a:lnTo>
                    <a:pt x="16298" y="41952"/>
                  </a:lnTo>
                  <a:lnTo>
                    <a:pt x="18592" y="41590"/>
                  </a:lnTo>
                  <a:lnTo>
                    <a:pt x="20765" y="41348"/>
                  </a:lnTo>
                  <a:lnTo>
                    <a:pt x="22696" y="41167"/>
                  </a:lnTo>
                  <a:lnTo>
                    <a:pt x="24387" y="41047"/>
                  </a:lnTo>
                  <a:lnTo>
                    <a:pt x="24387" y="41047"/>
                  </a:lnTo>
                  <a:lnTo>
                    <a:pt x="23421" y="39779"/>
                  </a:lnTo>
                  <a:lnTo>
                    <a:pt x="22998" y="39115"/>
                  </a:lnTo>
                  <a:lnTo>
                    <a:pt x="22576" y="38391"/>
                  </a:lnTo>
                  <a:lnTo>
                    <a:pt x="22214" y="37606"/>
                  </a:lnTo>
                  <a:lnTo>
                    <a:pt x="21912" y="36761"/>
                  </a:lnTo>
                  <a:lnTo>
                    <a:pt x="21731" y="35855"/>
                  </a:lnTo>
                  <a:lnTo>
                    <a:pt x="21670" y="34829"/>
                  </a:lnTo>
                  <a:lnTo>
                    <a:pt x="21670" y="34829"/>
                  </a:lnTo>
                  <a:lnTo>
                    <a:pt x="21670" y="34286"/>
                  </a:lnTo>
                  <a:lnTo>
                    <a:pt x="21731" y="33803"/>
                  </a:lnTo>
                  <a:lnTo>
                    <a:pt x="21972" y="32898"/>
                  </a:lnTo>
                  <a:lnTo>
                    <a:pt x="22214" y="32113"/>
                  </a:lnTo>
                  <a:lnTo>
                    <a:pt x="22576" y="31328"/>
                  </a:lnTo>
                  <a:lnTo>
                    <a:pt x="22576" y="31328"/>
                  </a:lnTo>
                  <a:lnTo>
                    <a:pt x="21067" y="31449"/>
                  </a:lnTo>
                  <a:lnTo>
                    <a:pt x="19678" y="31509"/>
                  </a:lnTo>
                  <a:lnTo>
                    <a:pt x="19678" y="31509"/>
                  </a:lnTo>
                  <a:lnTo>
                    <a:pt x="18773" y="31449"/>
                  </a:lnTo>
                  <a:lnTo>
                    <a:pt x="17928" y="31389"/>
                  </a:lnTo>
                  <a:lnTo>
                    <a:pt x="17083" y="31328"/>
                  </a:lnTo>
                  <a:lnTo>
                    <a:pt x="16238" y="31147"/>
                  </a:lnTo>
                  <a:lnTo>
                    <a:pt x="15453" y="30966"/>
                  </a:lnTo>
                  <a:lnTo>
                    <a:pt x="14668" y="30785"/>
                  </a:lnTo>
                  <a:lnTo>
                    <a:pt x="13944" y="30544"/>
                  </a:lnTo>
                  <a:lnTo>
                    <a:pt x="13220" y="30242"/>
                  </a:lnTo>
                  <a:lnTo>
                    <a:pt x="12556" y="29940"/>
                  </a:lnTo>
                  <a:lnTo>
                    <a:pt x="11892" y="29578"/>
                  </a:lnTo>
                  <a:lnTo>
                    <a:pt x="11228" y="29216"/>
                  </a:lnTo>
                  <a:lnTo>
                    <a:pt x="10624" y="28854"/>
                  </a:lnTo>
                  <a:lnTo>
                    <a:pt x="10081" y="28431"/>
                  </a:lnTo>
                  <a:lnTo>
                    <a:pt x="9538" y="27948"/>
                  </a:lnTo>
                  <a:lnTo>
                    <a:pt x="8512" y="26982"/>
                  </a:lnTo>
                  <a:lnTo>
                    <a:pt x="7606" y="25956"/>
                  </a:lnTo>
                  <a:lnTo>
                    <a:pt x="6821" y="24870"/>
                  </a:lnTo>
                  <a:lnTo>
                    <a:pt x="6097" y="23663"/>
                  </a:lnTo>
                  <a:lnTo>
                    <a:pt x="5554" y="22455"/>
                  </a:lnTo>
                  <a:lnTo>
                    <a:pt x="5131" y="21127"/>
                  </a:lnTo>
                  <a:lnTo>
                    <a:pt x="4830" y="19860"/>
                  </a:lnTo>
                  <a:lnTo>
                    <a:pt x="4648" y="18532"/>
                  </a:lnTo>
                  <a:lnTo>
                    <a:pt x="4588" y="17204"/>
                  </a:lnTo>
                  <a:lnTo>
                    <a:pt x="4588" y="17204"/>
                  </a:lnTo>
                  <a:lnTo>
                    <a:pt x="4588" y="16419"/>
                  </a:lnTo>
                  <a:lnTo>
                    <a:pt x="4648" y="15634"/>
                  </a:lnTo>
                  <a:lnTo>
                    <a:pt x="4769" y="14789"/>
                  </a:lnTo>
                  <a:lnTo>
                    <a:pt x="4950" y="14005"/>
                  </a:lnTo>
                  <a:lnTo>
                    <a:pt x="5131" y="13220"/>
                  </a:lnTo>
                  <a:lnTo>
                    <a:pt x="5373" y="12375"/>
                  </a:lnTo>
                  <a:lnTo>
                    <a:pt x="5675" y="11590"/>
                  </a:lnTo>
                  <a:lnTo>
                    <a:pt x="5976" y="10806"/>
                  </a:lnTo>
                  <a:lnTo>
                    <a:pt x="6399" y="10021"/>
                  </a:lnTo>
                  <a:lnTo>
                    <a:pt x="6821" y="9236"/>
                  </a:lnTo>
                  <a:lnTo>
                    <a:pt x="7304" y="8512"/>
                  </a:lnTo>
                  <a:lnTo>
                    <a:pt x="7848" y="7727"/>
                  </a:lnTo>
                  <a:lnTo>
                    <a:pt x="8391" y="7003"/>
                  </a:lnTo>
                  <a:lnTo>
                    <a:pt x="8994" y="6339"/>
                  </a:lnTo>
                  <a:lnTo>
                    <a:pt x="9658" y="5675"/>
                  </a:lnTo>
                  <a:lnTo>
                    <a:pt x="10383" y="5011"/>
                  </a:lnTo>
                  <a:lnTo>
                    <a:pt x="10383" y="5011"/>
                  </a:lnTo>
                  <a:lnTo>
                    <a:pt x="11349" y="4226"/>
                  </a:lnTo>
                  <a:lnTo>
                    <a:pt x="12375" y="3562"/>
                  </a:lnTo>
                  <a:lnTo>
                    <a:pt x="13401" y="2959"/>
                  </a:lnTo>
                  <a:lnTo>
                    <a:pt x="14427" y="2415"/>
                  </a:lnTo>
                  <a:lnTo>
                    <a:pt x="15453" y="1932"/>
                  </a:lnTo>
                  <a:lnTo>
                    <a:pt x="16540" y="1570"/>
                  </a:lnTo>
                  <a:lnTo>
                    <a:pt x="17566" y="1208"/>
                  </a:lnTo>
                  <a:lnTo>
                    <a:pt x="18652" y="906"/>
                  </a:lnTo>
                  <a:lnTo>
                    <a:pt x="19678" y="665"/>
                  </a:lnTo>
                  <a:lnTo>
                    <a:pt x="20705" y="484"/>
                  </a:lnTo>
                  <a:lnTo>
                    <a:pt x="21731" y="303"/>
                  </a:lnTo>
                  <a:lnTo>
                    <a:pt x="22757" y="182"/>
                  </a:lnTo>
                  <a:lnTo>
                    <a:pt x="24749" y="61"/>
                  </a:lnTo>
                  <a:lnTo>
                    <a:pt x="26680" y="1"/>
                  </a:lnTo>
                  <a:lnTo>
                    <a:pt x="45392" y="1"/>
                  </a:lnTo>
                  <a:lnTo>
                    <a:pt x="39598" y="3260"/>
                  </a:lnTo>
                  <a:lnTo>
                    <a:pt x="33924" y="3260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0" name="Shape 150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4" y="2837"/>
                  </a:lnTo>
                  <a:lnTo>
                    <a:pt x="2317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1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6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3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7" y="22757"/>
                  </a:lnTo>
                  <a:lnTo>
                    <a:pt x="36217" y="24447"/>
                  </a:lnTo>
                  <a:lnTo>
                    <a:pt x="36278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8" y="34406"/>
                  </a:lnTo>
                  <a:lnTo>
                    <a:pt x="34286" y="35010"/>
                  </a:lnTo>
                  <a:lnTo>
                    <a:pt x="33924" y="35553"/>
                  </a:lnTo>
                  <a:lnTo>
                    <a:pt x="33501" y="36157"/>
                  </a:lnTo>
                  <a:lnTo>
                    <a:pt x="33139" y="36640"/>
                  </a:lnTo>
                  <a:lnTo>
                    <a:pt x="3265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147" y="38511"/>
                  </a:lnTo>
                  <a:lnTo>
                    <a:pt x="30604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6" y="40261"/>
                  </a:lnTo>
                  <a:lnTo>
                    <a:pt x="26922" y="40442"/>
                  </a:lnTo>
                  <a:lnTo>
                    <a:pt x="26258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40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4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8" y="35613"/>
                  </a:lnTo>
                  <a:lnTo>
                    <a:pt x="1394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1952" y="31328"/>
                  </a:lnTo>
                  <a:lnTo>
                    <a:pt x="11530" y="30362"/>
                  </a:lnTo>
                  <a:lnTo>
                    <a:pt x="10805" y="28430"/>
                  </a:lnTo>
                  <a:lnTo>
                    <a:pt x="10202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4" y="18712"/>
                  </a:lnTo>
                  <a:lnTo>
                    <a:pt x="8813" y="16962"/>
                  </a:lnTo>
                  <a:lnTo>
                    <a:pt x="8874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35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6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5" y="6519"/>
                  </a:lnTo>
                  <a:lnTo>
                    <a:pt x="13039" y="5916"/>
                  </a:lnTo>
                  <a:lnTo>
                    <a:pt x="13884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8" y="3260"/>
                  </a:lnTo>
                  <a:lnTo>
                    <a:pt x="18954" y="3018"/>
                  </a:lnTo>
                  <a:lnTo>
                    <a:pt x="20041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5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1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6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4" y="12616"/>
                  </a:lnTo>
                  <a:lnTo>
                    <a:pt x="1751" y="13582"/>
                  </a:lnTo>
                  <a:lnTo>
                    <a:pt x="1329" y="14608"/>
                  </a:lnTo>
                  <a:lnTo>
                    <a:pt x="1027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24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1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6" y="27827"/>
                  </a:lnTo>
                  <a:lnTo>
                    <a:pt x="108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200" y="33320"/>
                  </a:lnTo>
                  <a:lnTo>
                    <a:pt x="3743" y="34165"/>
                  </a:lnTo>
                  <a:lnTo>
                    <a:pt x="4347" y="35010"/>
                  </a:lnTo>
                  <a:lnTo>
                    <a:pt x="5011" y="35795"/>
                  </a:lnTo>
                  <a:lnTo>
                    <a:pt x="5675" y="36579"/>
                  </a:lnTo>
                  <a:lnTo>
                    <a:pt x="6399" y="37364"/>
                  </a:lnTo>
                  <a:lnTo>
                    <a:pt x="7184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3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8" y="43340"/>
                  </a:lnTo>
                  <a:lnTo>
                    <a:pt x="20825" y="43460"/>
                  </a:lnTo>
                  <a:lnTo>
                    <a:pt x="2215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5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9" y="41046"/>
                  </a:lnTo>
                  <a:lnTo>
                    <a:pt x="34105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60" y="35674"/>
                  </a:lnTo>
                  <a:lnTo>
                    <a:pt x="40624" y="34829"/>
                  </a:lnTo>
                  <a:lnTo>
                    <a:pt x="41288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0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5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3" y="4467"/>
                  </a:lnTo>
                  <a:lnTo>
                    <a:pt x="36278" y="3863"/>
                  </a:lnTo>
                  <a:lnTo>
                    <a:pt x="35433" y="3260"/>
                  </a:lnTo>
                  <a:lnTo>
                    <a:pt x="34467" y="2717"/>
                  </a:lnTo>
                  <a:lnTo>
                    <a:pt x="33561" y="2234"/>
                  </a:lnTo>
                  <a:lnTo>
                    <a:pt x="32596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396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1" name="Shape 151"/>
            <p:cNvSpPr/>
            <p:nvPr/>
          </p:nvSpPr>
          <p:spPr>
            <a:xfrm>
              <a:off x="3502150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688" y="33381"/>
                  </a:moveTo>
                  <a:lnTo>
                    <a:pt x="24688" y="33381"/>
                  </a:lnTo>
                  <a:lnTo>
                    <a:pt x="25111" y="32777"/>
                  </a:lnTo>
                  <a:lnTo>
                    <a:pt x="25473" y="32234"/>
                  </a:lnTo>
                  <a:lnTo>
                    <a:pt x="25775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5" y="23300"/>
                  </a:lnTo>
                  <a:lnTo>
                    <a:pt x="27465" y="23300"/>
                  </a:lnTo>
                  <a:lnTo>
                    <a:pt x="27404" y="21671"/>
                  </a:lnTo>
                  <a:lnTo>
                    <a:pt x="27284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30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3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8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366" y="182"/>
                  </a:lnTo>
                  <a:lnTo>
                    <a:pt x="13401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8" y="61"/>
                  </a:lnTo>
                  <a:lnTo>
                    <a:pt x="10141" y="242"/>
                  </a:lnTo>
                  <a:lnTo>
                    <a:pt x="9055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1" y="2415"/>
                  </a:lnTo>
                  <a:lnTo>
                    <a:pt x="4226" y="3140"/>
                  </a:lnTo>
                  <a:lnTo>
                    <a:pt x="4226" y="3140"/>
                  </a:lnTo>
                  <a:lnTo>
                    <a:pt x="3562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3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54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1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1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9" y="23723"/>
                  </a:lnTo>
                  <a:lnTo>
                    <a:pt x="1992" y="25654"/>
                  </a:lnTo>
                  <a:lnTo>
                    <a:pt x="2717" y="27586"/>
                  </a:lnTo>
                  <a:lnTo>
                    <a:pt x="313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31" y="32053"/>
                  </a:lnTo>
                  <a:lnTo>
                    <a:pt x="5735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1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7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5" y="37787"/>
                  </a:lnTo>
                  <a:lnTo>
                    <a:pt x="18109" y="37666"/>
                  </a:lnTo>
                  <a:lnTo>
                    <a:pt x="18773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1" y="36097"/>
                  </a:lnTo>
                  <a:lnTo>
                    <a:pt x="2233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843" y="34407"/>
                  </a:lnTo>
                  <a:lnTo>
                    <a:pt x="24326" y="33864"/>
                  </a:lnTo>
                  <a:lnTo>
                    <a:pt x="2468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2" name="Shape 152"/>
            <p:cNvSpPr/>
            <p:nvPr/>
          </p:nvSpPr>
          <p:spPr>
            <a:xfrm>
              <a:off x="3281825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153" y="43521"/>
                  </a:moveTo>
                  <a:lnTo>
                    <a:pt x="22153" y="43521"/>
                  </a:lnTo>
                  <a:lnTo>
                    <a:pt x="20825" y="43460"/>
                  </a:lnTo>
                  <a:lnTo>
                    <a:pt x="19558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3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4" y="38088"/>
                  </a:lnTo>
                  <a:lnTo>
                    <a:pt x="6399" y="37364"/>
                  </a:lnTo>
                  <a:lnTo>
                    <a:pt x="5675" y="36579"/>
                  </a:lnTo>
                  <a:lnTo>
                    <a:pt x="5011" y="35795"/>
                  </a:lnTo>
                  <a:lnTo>
                    <a:pt x="4347" y="35010"/>
                  </a:lnTo>
                  <a:lnTo>
                    <a:pt x="3743" y="34165"/>
                  </a:lnTo>
                  <a:lnTo>
                    <a:pt x="3200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087" y="28732"/>
                  </a:lnTo>
                  <a:lnTo>
                    <a:pt x="846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1" y="22032"/>
                  </a:lnTo>
                  <a:lnTo>
                    <a:pt x="1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24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7" y="15574"/>
                  </a:lnTo>
                  <a:lnTo>
                    <a:pt x="1329" y="14608"/>
                  </a:lnTo>
                  <a:lnTo>
                    <a:pt x="1751" y="13582"/>
                  </a:lnTo>
                  <a:lnTo>
                    <a:pt x="2174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6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1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5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396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6" y="1811"/>
                  </a:lnTo>
                  <a:lnTo>
                    <a:pt x="33561" y="2234"/>
                  </a:lnTo>
                  <a:lnTo>
                    <a:pt x="34467" y="2717"/>
                  </a:lnTo>
                  <a:lnTo>
                    <a:pt x="35433" y="3260"/>
                  </a:lnTo>
                  <a:lnTo>
                    <a:pt x="36278" y="3863"/>
                  </a:lnTo>
                  <a:lnTo>
                    <a:pt x="37123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5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0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8" y="33984"/>
                  </a:lnTo>
                  <a:lnTo>
                    <a:pt x="40624" y="34829"/>
                  </a:lnTo>
                  <a:lnTo>
                    <a:pt x="39960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5" y="40503"/>
                  </a:lnTo>
                  <a:lnTo>
                    <a:pt x="33079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5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15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3" name="Shape 153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extrusionOk="0">
                  <a:moveTo>
                    <a:pt x="21187" y="2777"/>
                  </a:moveTo>
                  <a:lnTo>
                    <a:pt x="22213" y="2837"/>
                  </a:lnTo>
                  <a:lnTo>
                    <a:pt x="23239" y="2958"/>
                  </a:lnTo>
                  <a:lnTo>
                    <a:pt x="24145" y="3199"/>
                  </a:lnTo>
                  <a:lnTo>
                    <a:pt x="25050" y="3441"/>
                  </a:lnTo>
                  <a:lnTo>
                    <a:pt x="25956" y="3803"/>
                  </a:lnTo>
                  <a:lnTo>
                    <a:pt x="26740" y="4286"/>
                  </a:lnTo>
                  <a:lnTo>
                    <a:pt x="27525" y="4769"/>
                  </a:lnTo>
                  <a:lnTo>
                    <a:pt x="28310" y="5312"/>
                  </a:lnTo>
                  <a:lnTo>
                    <a:pt x="28974" y="5916"/>
                  </a:lnTo>
                  <a:lnTo>
                    <a:pt x="29698" y="6580"/>
                  </a:lnTo>
                  <a:lnTo>
                    <a:pt x="30302" y="7304"/>
                  </a:lnTo>
                  <a:lnTo>
                    <a:pt x="30905" y="8028"/>
                  </a:lnTo>
                  <a:lnTo>
                    <a:pt x="31449" y="8873"/>
                  </a:lnTo>
                  <a:lnTo>
                    <a:pt x="31992" y="9658"/>
                  </a:lnTo>
                  <a:lnTo>
                    <a:pt x="32475" y="10564"/>
                  </a:lnTo>
                  <a:lnTo>
                    <a:pt x="32958" y="11409"/>
                  </a:lnTo>
                  <a:lnTo>
                    <a:pt x="33380" y="12314"/>
                  </a:lnTo>
                  <a:lnTo>
                    <a:pt x="33742" y="13280"/>
                  </a:lnTo>
                  <a:lnTo>
                    <a:pt x="34467" y="15151"/>
                  </a:lnTo>
                  <a:lnTo>
                    <a:pt x="35010" y="17143"/>
                  </a:lnTo>
                  <a:lnTo>
                    <a:pt x="35493" y="19074"/>
                  </a:lnTo>
                  <a:lnTo>
                    <a:pt x="35855" y="20946"/>
                  </a:lnTo>
                  <a:lnTo>
                    <a:pt x="36096" y="22757"/>
                  </a:lnTo>
                  <a:lnTo>
                    <a:pt x="36217" y="24447"/>
                  </a:lnTo>
                  <a:lnTo>
                    <a:pt x="36277" y="26076"/>
                  </a:lnTo>
                  <a:lnTo>
                    <a:pt x="36217" y="27404"/>
                  </a:lnTo>
                  <a:lnTo>
                    <a:pt x="36157" y="28732"/>
                  </a:lnTo>
                  <a:lnTo>
                    <a:pt x="35976" y="30060"/>
                  </a:lnTo>
                  <a:lnTo>
                    <a:pt x="35734" y="31328"/>
                  </a:lnTo>
                  <a:lnTo>
                    <a:pt x="35372" y="32595"/>
                  </a:lnTo>
                  <a:lnTo>
                    <a:pt x="34889" y="33803"/>
                  </a:lnTo>
                  <a:lnTo>
                    <a:pt x="34587" y="34406"/>
                  </a:lnTo>
                  <a:lnTo>
                    <a:pt x="34286" y="35010"/>
                  </a:lnTo>
                  <a:lnTo>
                    <a:pt x="33923" y="35553"/>
                  </a:lnTo>
                  <a:lnTo>
                    <a:pt x="33561" y="36157"/>
                  </a:lnTo>
                  <a:lnTo>
                    <a:pt x="33139" y="36640"/>
                  </a:lnTo>
                  <a:lnTo>
                    <a:pt x="32716" y="37183"/>
                  </a:lnTo>
                  <a:lnTo>
                    <a:pt x="32233" y="37666"/>
                  </a:lnTo>
                  <a:lnTo>
                    <a:pt x="31690" y="38088"/>
                  </a:lnTo>
                  <a:lnTo>
                    <a:pt x="31207" y="38511"/>
                  </a:lnTo>
                  <a:lnTo>
                    <a:pt x="30603" y="38873"/>
                  </a:lnTo>
                  <a:lnTo>
                    <a:pt x="30060" y="39235"/>
                  </a:lnTo>
                  <a:lnTo>
                    <a:pt x="29457" y="39537"/>
                  </a:lnTo>
                  <a:lnTo>
                    <a:pt x="28853" y="39839"/>
                  </a:lnTo>
                  <a:lnTo>
                    <a:pt x="28189" y="40080"/>
                  </a:lnTo>
                  <a:lnTo>
                    <a:pt x="27585" y="40261"/>
                  </a:lnTo>
                  <a:lnTo>
                    <a:pt x="26921" y="40442"/>
                  </a:lnTo>
                  <a:lnTo>
                    <a:pt x="26257" y="40563"/>
                  </a:lnTo>
                  <a:lnTo>
                    <a:pt x="25594" y="40684"/>
                  </a:lnTo>
                  <a:lnTo>
                    <a:pt x="24930" y="40744"/>
                  </a:lnTo>
                  <a:lnTo>
                    <a:pt x="23239" y="40744"/>
                  </a:lnTo>
                  <a:lnTo>
                    <a:pt x="22274" y="40623"/>
                  </a:lnTo>
                  <a:lnTo>
                    <a:pt x="21368" y="40382"/>
                  </a:lnTo>
                  <a:lnTo>
                    <a:pt x="20463" y="40141"/>
                  </a:lnTo>
                  <a:lnTo>
                    <a:pt x="19618" y="39778"/>
                  </a:lnTo>
                  <a:lnTo>
                    <a:pt x="18773" y="39356"/>
                  </a:lnTo>
                  <a:lnTo>
                    <a:pt x="17988" y="38873"/>
                  </a:lnTo>
                  <a:lnTo>
                    <a:pt x="17203" y="38330"/>
                  </a:lnTo>
                  <a:lnTo>
                    <a:pt x="16479" y="37726"/>
                  </a:lnTo>
                  <a:lnTo>
                    <a:pt x="15815" y="37062"/>
                  </a:lnTo>
                  <a:lnTo>
                    <a:pt x="15151" y="36338"/>
                  </a:lnTo>
                  <a:lnTo>
                    <a:pt x="14547" y="35613"/>
                  </a:lnTo>
                  <a:lnTo>
                    <a:pt x="14004" y="34829"/>
                  </a:lnTo>
                  <a:lnTo>
                    <a:pt x="13401" y="33984"/>
                  </a:lnTo>
                  <a:lnTo>
                    <a:pt x="12918" y="33139"/>
                  </a:lnTo>
                  <a:lnTo>
                    <a:pt x="12435" y="32233"/>
                  </a:lnTo>
                  <a:lnTo>
                    <a:pt x="12012" y="31328"/>
                  </a:lnTo>
                  <a:lnTo>
                    <a:pt x="11590" y="30362"/>
                  </a:lnTo>
                  <a:lnTo>
                    <a:pt x="10805" y="28430"/>
                  </a:lnTo>
                  <a:lnTo>
                    <a:pt x="10201" y="26499"/>
                  </a:lnTo>
                  <a:lnTo>
                    <a:pt x="9719" y="24507"/>
                  </a:lnTo>
                  <a:lnTo>
                    <a:pt x="9296" y="22515"/>
                  </a:lnTo>
                  <a:lnTo>
                    <a:pt x="9055" y="20584"/>
                  </a:lnTo>
                  <a:lnTo>
                    <a:pt x="8873" y="18712"/>
                  </a:lnTo>
                  <a:lnTo>
                    <a:pt x="8813" y="16962"/>
                  </a:lnTo>
                  <a:lnTo>
                    <a:pt x="8873" y="15513"/>
                  </a:lnTo>
                  <a:lnTo>
                    <a:pt x="8994" y="14065"/>
                  </a:lnTo>
                  <a:lnTo>
                    <a:pt x="9236" y="12616"/>
                  </a:lnTo>
                  <a:lnTo>
                    <a:pt x="9417" y="11891"/>
                  </a:lnTo>
                  <a:lnTo>
                    <a:pt x="9598" y="11167"/>
                  </a:lnTo>
                  <a:lnTo>
                    <a:pt x="9839" y="10443"/>
                  </a:lnTo>
                  <a:lnTo>
                    <a:pt x="10141" y="9779"/>
                  </a:lnTo>
                  <a:lnTo>
                    <a:pt x="10443" y="9055"/>
                  </a:lnTo>
                  <a:lnTo>
                    <a:pt x="10865" y="8391"/>
                  </a:lnTo>
                  <a:lnTo>
                    <a:pt x="11288" y="7787"/>
                  </a:lnTo>
                  <a:lnTo>
                    <a:pt x="11831" y="7123"/>
                  </a:lnTo>
                  <a:lnTo>
                    <a:pt x="12374" y="6519"/>
                  </a:lnTo>
                  <a:lnTo>
                    <a:pt x="13038" y="5916"/>
                  </a:lnTo>
                  <a:lnTo>
                    <a:pt x="13883" y="5191"/>
                  </a:lnTo>
                  <a:lnTo>
                    <a:pt x="14789" y="4588"/>
                  </a:lnTo>
                  <a:lnTo>
                    <a:pt x="15755" y="4045"/>
                  </a:lnTo>
                  <a:lnTo>
                    <a:pt x="16781" y="3622"/>
                  </a:lnTo>
                  <a:lnTo>
                    <a:pt x="17867" y="3260"/>
                  </a:lnTo>
                  <a:lnTo>
                    <a:pt x="18954" y="3018"/>
                  </a:lnTo>
                  <a:lnTo>
                    <a:pt x="20040" y="2837"/>
                  </a:lnTo>
                  <a:lnTo>
                    <a:pt x="21187" y="2777"/>
                  </a:lnTo>
                  <a:close/>
                  <a:moveTo>
                    <a:pt x="22274" y="0"/>
                  </a:moveTo>
                  <a:lnTo>
                    <a:pt x="21006" y="121"/>
                  </a:lnTo>
                  <a:lnTo>
                    <a:pt x="19799" y="242"/>
                  </a:lnTo>
                  <a:lnTo>
                    <a:pt x="18592" y="423"/>
                  </a:lnTo>
                  <a:lnTo>
                    <a:pt x="17384" y="725"/>
                  </a:lnTo>
                  <a:lnTo>
                    <a:pt x="16238" y="1026"/>
                  </a:lnTo>
                  <a:lnTo>
                    <a:pt x="15151" y="1328"/>
                  </a:lnTo>
                  <a:lnTo>
                    <a:pt x="14065" y="1751"/>
                  </a:lnTo>
                  <a:lnTo>
                    <a:pt x="12978" y="2234"/>
                  </a:lnTo>
                  <a:lnTo>
                    <a:pt x="11952" y="2717"/>
                  </a:lnTo>
                  <a:lnTo>
                    <a:pt x="10986" y="3260"/>
                  </a:lnTo>
                  <a:lnTo>
                    <a:pt x="10020" y="3803"/>
                  </a:lnTo>
                  <a:lnTo>
                    <a:pt x="9115" y="4467"/>
                  </a:lnTo>
                  <a:lnTo>
                    <a:pt x="8270" y="5131"/>
                  </a:lnTo>
                  <a:lnTo>
                    <a:pt x="7425" y="5795"/>
                  </a:lnTo>
                  <a:lnTo>
                    <a:pt x="6580" y="6580"/>
                  </a:lnTo>
                  <a:lnTo>
                    <a:pt x="5855" y="7304"/>
                  </a:lnTo>
                  <a:lnTo>
                    <a:pt x="5131" y="8149"/>
                  </a:lnTo>
                  <a:lnTo>
                    <a:pt x="4467" y="8994"/>
                  </a:lnTo>
                  <a:lnTo>
                    <a:pt x="3803" y="9839"/>
                  </a:lnTo>
                  <a:lnTo>
                    <a:pt x="3260" y="10745"/>
                  </a:lnTo>
                  <a:lnTo>
                    <a:pt x="2717" y="11650"/>
                  </a:lnTo>
                  <a:lnTo>
                    <a:pt x="2173" y="12616"/>
                  </a:lnTo>
                  <a:lnTo>
                    <a:pt x="1751" y="13582"/>
                  </a:lnTo>
                  <a:lnTo>
                    <a:pt x="1328" y="14608"/>
                  </a:lnTo>
                  <a:lnTo>
                    <a:pt x="1026" y="15574"/>
                  </a:lnTo>
                  <a:lnTo>
                    <a:pt x="725" y="16660"/>
                  </a:lnTo>
                  <a:lnTo>
                    <a:pt x="483" y="17686"/>
                  </a:lnTo>
                  <a:lnTo>
                    <a:pt x="302" y="18773"/>
                  </a:lnTo>
                  <a:lnTo>
                    <a:pt x="121" y="19859"/>
                  </a:lnTo>
                  <a:lnTo>
                    <a:pt x="61" y="20946"/>
                  </a:lnTo>
                  <a:lnTo>
                    <a:pt x="0" y="22032"/>
                  </a:lnTo>
                  <a:lnTo>
                    <a:pt x="61" y="22998"/>
                  </a:lnTo>
                  <a:lnTo>
                    <a:pt x="121" y="23964"/>
                  </a:lnTo>
                  <a:lnTo>
                    <a:pt x="242" y="24930"/>
                  </a:lnTo>
                  <a:lnTo>
                    <a:pt x="363" y="25895"/>
                  </a:lnTo>
                  <a:lnTo>
                    <a:pt x="604" y="26861"/>
                  </a:lnTo>
                  <a:lnTo>
                    <a:pt x="845" y="27827"/>
                  </a:lnTo>
                  <a:lnTo>
                    <a:pt x="1147" y="28732"/>
                  </a:lnTo>
                  <a:lnTo>
                    <a:pt x="1449" y="29698"/>
                  </a:lnTo>
                  <a:lnTo>
                    <a:pt x="1811" y="30603"/>
                  </a:lnTo>
                  <a:lnTo>
                    <a:pt x="2234" y="31509"/>
                  </a:lnTo>
                  <a:lnTo>
                    <a:pt x="2717" y="32414"/>
                  </a:lnTo>
                  <a:lnTo>
                    <a:pt x="3199" y="33320"/>
                  </a:lnTo>
                  <a:lnTo>
                    <a:pt x="3803" y="34165"/>
                  </a:lnTo>
                  <a:lnTo>
                    <a:pt x="4346" y="35010"/>
                  </a:lnTo>
                  <a:lnTo>
                    <a:pt x="5010" y="35795"/>
                  </a:lnTo>
                  <a:lnTo>
                    <a:pt x="5674" y="36579"/>
                  </a:lnTo>
                  <a:lnTo>
                    <a:pt x="6399" y="37364"/>
                  </a:lnTo>
                  <a:lnTo>
                    <a:pt x="7183" y="38088"/>
                  </a:lnTo>
                  <a:lnTo>
                    <a:pt x="7968" y="38752"/>
                  </a:lnTo>
                  <a:lnTo>
                    <a:pt x="8813" y="39416"/>
                  </a:lnTo>
                  <a:lnTo>
                    <a:pt x="9719" y="40020"/>
                  </a:lnTo>
                  <a:lnTo>
                    <a:pt x="10624" y="40563"/>
                  </a:lnTo>
                  <a:lnTo>
                    <a:pt x="11590" y="41106"/>
                  </a:lnTo>
                  <a:lnTo>
                    <a:pt x="12616" y="41589"/>
                  </a:lnTo>
                  <a:lnTo>
                    <a:pt x="13702" y="42012"/>
                  </a:lnTo>
                  <a:lnTo>
                    <a:pt x="14789" y="42374"/>
                  </a:lnTo>
                  <a:lnTo>
                    <a:pt x="15936" y="42736"/>
                  </a:lnTo>
                  <a:lnTo>
                    <a:pt x="17083" y="42978"/>
                  </a:lnTo>
                  <a:lnTo>
                    <a:pt x="18290" y="43219"/>
                  </a:lnTo>
                  <a:lnTo>
                    <a:pt x="19557" y="43340"/>
                  </a:lnTo>
                  <a:lnTo>
                    <a:pt x="20825" y="43460"/>
                  </a:lnTo>
                  <a:lnTo>
                    <a:pt x="22213" y="43521"/>
                  </a:lnTo>
                  <a:lnTo>
                    <a:pt x="23541" y="43460"/>
                  </a:lnTo>
                  <a:lnTo>
                    <a:pt x="24869" y="43340"/>
                  </a:lnTo>
                  <a:lnTo>
                    <a:pt x="26197" y="43219"/>
                  </a:lnTo>
                  <a:lnTo>
                    <a:pt x="27404" y="42978"/>
                  </a:lnTo>
                  <a:lnTo>
                    <a:pt x="28612" y="42676"/>
                  </a:lnTo>
                  <a:lnTo>
                    <a:pt x="29819" y="42374"/>
                  </a:lnTo>
                  <a:lnTo>
                    <a:pt x="30966" y="42012"/>
                  </a:lnTo>
                  <a:lnTo>
                    <a:pt x="32052" y="41529"/>
                  </a:lnTo>
                  <a:lnTo>
                    <a:pt x="33078" y="41046"/>
                  </a:lnTo>
                  <a:lnTo>
                    <a:pt x="34104" y="40503"/>
                  </a:lnTo>
                  <a:lnTo>
                    <a:pt x="35070" y="39959"/>
                  </a:lnTo>
                  <a:lnTo>
                    <a:pt x="35976" y="39356"/>
                  </a:lnTo>
                  <a:lnTo>
                    <a:pt x="36881" y="38692"/>
                  </a:lnTo>
                  <a:lnTo>
                    <a:pt x="37726" y="37968"/>
                  </a:lnTo>
                  <a:lnTo>
                    <a:pt x="38511" y="37243"/>
                  </a:lnTo>
                  <a:lnTo>
                    <a:pt x="39296" y="36459"/>
                  </a:lnTo>
                  <a:lnTo>
                    <a:pt x="39959" y="35674"/>
                  </a:lnTo>
                  <a:lnTo>
                    <a:pt x="40623" y="34829"/>
                  </a:lnTo>
                  <a:lnTo>
                    <a:pt x="41287" y="33984"/>
                  </a:lnTo>
                  <a:lnTo>
                    <a:pt x="41831" y="33139"/>
                  </a:lnTo>
                  <a:lnTo>
                    <a:pt x="42374" y="32233"/>
                  </a:lnTo>
                  <a:lnTo>
                    <a:pt x="42857" y="31267"/>
                  </a:lnTo>
                  <a:lnTo>
                    <a:pt x="43340" y="30362"/>
                  </a:lnTo>
                  <a:lnTo>
                    <a:pt x="43762" y="29396"/>
                  </a:lnTo>
                  <a:lnTo>
                    <a:pt x="44064" y="28430"/>
                  </a:lnTo>
                  <a:lnTo>
                    <a:pt x="44366" y="27465"/>
                  </a:lnTo>
                  <a:lnTo>
                    <a:pt x="44668" y="26439"/>
                  </a:lnTo>
                  <a:lnTo>
                    <a:pt x="44849" y="25473"/>
                  </a:lnTo>
                  <a:lnTo>
                    <a:pt x="45030" y="24447"/>
                  </a:lnTo>
                  <a:lnTo>
                    <a:pt x="45151" y="23420"/>
                  </a:lnTo>
                  <a:lnTo>
                    <a:pt x="45211" y="22455"/>
                  </a:lnTo>
                  <a:lnTo>
                    <a:pt x="45271" y="21429"/>
                  </a:lnTo>
                  <a:lnTo>
                    <a:pt x="45211" y="20402"/>
                  </a:lnTo>
                  <a:lnTo>
                    <a:pt x="45151" y="19376"/>
                  </a:lnTo>
                  <a:lnTo>
                    <a:pt x="45030" y="18350"/>
                  </a:lnTo>
                  <a:lnTo>
                    <a:pt x="44849" y="17324"/>
                  </a:lnTo>
                  <a:lnTo>
                    <a:pt x="44668" y="16358"/>
                  </a:lnTo>
                  <a:lnTo>
                    <a:pt x="44366" y="15332"/>
                  </a:lnTo>
                  <a:lnTo>
                    <a:pt x="44064" y="14366"/>
                  </a:lnTo>
                  <a:lnTo>
                    <a:pt x="43762" y="13461"/>
                  </a:lnTo>
                  <a:lnTo>
                    <a:pt x="43340" y="12495"/>
                  </a:lnTo>
                  <a:lnTo>
                    <a:pt x="42917" y="11590"/>
                  </a:lnTo>
                  <a:lnTo>
                    <a:pt x="42434" y="10684"/>
                  </a:lnTo>
                  <a:lnTo>
                    <a:pt x="41891" y="9779"/>
                  </a:lnTo>
                  <a:lnTo>
                    <a:pt x="41348" y="8934"/>
                  </a:lnTo>
                  <a:lnTo>
                    <a:pt x="40744" y="8149"/>
                  </a:lnTo>
                  <a:lnTo>
                    <a:pt x="40080" y="7364"/>
                  </a:lnTo>
                  <a:lnTo>
                    <a:pt x="39416" y="6580"/>
                  </a:lnTo>
                  <a:lnTo>
                    <a:pt x="38692" y="5855"/>
                  </a:lnTo>
                  <a:lnTo>
                    <a:pt x="37907" y="5131"/>
                  </a:lnTo>
                  <a:lnTo>
                    <a:pt x="37122" y="4467"/>
                  </a:lnTo>
                  <a:lnTo>
                    <a:pt x="36277" y="3863"/>
                  </a:lnTo>
                  <a:lnTo>
                    <a:pt x="35432" y="3260"/>
                  </a:lnTo>
                  <a:lnTo>
                    <a:pt x="34527" y="2717"/>
                  </a:lnTo>
                  <a:lnTo>
                    <a:pt x="33561" y="2234"/>
                  </a:lnTo>
                  <a:lnTo>
                    <a:pt x="32595" y="1811"/>
                  </a:lnTo>
                  <a:lnTo>
                    <a:pt x="31569" y="1389"/>
                  </a:lnTo>
                  <a:lnTo>
                    <a:pt x="30483" y="1026"/>
                  </a:lnTo>
                  <a:lnTo>
                    <a:pt x="29457" y="725"/>
                  </a:lnTo>
                  <a:lnTo>
                    <a:pt x="28310" y="483"/>
                  </a:lnTo>
                  <a:lnTo>
                    <a:pt x="27163" y="242"/>
                  </a:lnTo>
                  <a:lnTo>
                    <a:pt x="26016" y="121"/>
                  </a:lnTo>
                  <a:lnTo>
                    <a:pt x="24809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4" name="Shape 154"/>
            <p:cNvSpPr/>
            <p:nvPr/>
          </p:nvSpPr>
          <p:spPr>
            <a:xfrm>
              <a:off x="2227025" y="2322525"/>
              <a:ext cx="686625" cy="949225"/>
            </a:xfrm>
            <a:custGeom>
              <a:avLst/>
              <a:gdLst/>
              <a:ahLst/>
              <a:cxnLst/>
              <a:rect l="0" t="0" r="0" b="0"/>
              <a:pathLst>
                <a:path w="27465" h="37969" fill="none" extrusionOk="0">
                  <a:moveTo>
                    <a:pt x="24748" y="33381"/>
                  </a:moveTo>
                  <a:lnTo>
                    <a:pt x="24748" y="33381"/>
                  </a:lnTo>
                  <a:lnTo>
                    <a:pt x="25110" y="32777"/>
                  </a:lnTo>
                  <a:lnTo>
                    <a:pt x="25473" y="32234"/>
                  </a:lnTo>
                  <a:lnTo>
                    <a:pt x="25774" y="31630"/>
                  </a:lnTo>
                  <a:lnTo>
                    <a:pt x="26076" y="31027"/>
                  </a:lnTo>
                  <a:lnTo>
                    <a:pt x="26559" y="29819"/>
                  </a:lnTo>
                  <a:lnTo>
                    <a:pt x="26921" y="28552"/>
                  </a:lnTo>
                  <a:lnTo>
                    <a:pt x="27163" y="27284"/>
                  </a:lnTo>
                  <a:lnTo>
                    <a:pt x="27344" y="25956"/>
                  </a:lnTo>
                  <a:lnTo>
                    <a:pt x="27404" y="24628"/>
                  </a:lnTo>
                  <a:lnTo>
                    <a:pt x="27464" y="23300"/>
                  </a:lnTo>
                  <a:lnTo>
                    <a:pt x="27464" y="23300"/>
                  </a:lnTo>
                  <a:lnTo>
                    <a:pt x="27404" y="21671"/>
                  </a:lnTo>
                  <a:lnTo>
                    <a:pt x="27283" y="19981"/>
                  </a:lnTo>
                  <a:lnTo>
                    <a:pt x="27042" y="18170"/>
                  </a:lnTo>
                  <a:lnTo>
                    <a:pt x="26680" y="16298"/>
                  </a:lnTo>
                  <a:lnTo>
                    <a:pt x="26197" y="14367"/>
                  </a:lnTo>
                  <a:lnTo>
                    <a:pt x="25654" y="12375"/>
                  </a:lnTo>
                  <a:lnTo>
                    <a:pt x="24929" y="10504"/>
                  </a:lnTo>
                  <a:lnTo>
                    <a:pt x="24567" y="9538"/>
                  </a:lnTo>
                  <a:lnTo>
                    <a:pt x="24145" y="8633"/>
                  </a:lnTo>
                  <a:lnTo>
                    <a:pt x="23662" y="7788"/>
                  </a:lnTo>
                  <a:lnTo>
                    <a:pt x="23179" y="6882"/>
                  </a:lnTo>
                  <a:lnTo>
                    <a:pt x="22636" y="6097"/>
                  </a:lnTo>
                  <a:lnTo>
                    <a:pt x="22092" y="5252"/>
                  </a:lnTo>
                  <a:lnTo>
                    <a:pt x="21489" y="4528"/>
                  </a:lnTo>
                  <a:lnTo>
                    <a:pt x="20885" y="3804"/>
                  </a:lnTo>
                  <a:lnTo>
                    <a:pt x="20161" y="3140"/>
                  </a:lnTo>
                  <a:lnTo>
                    <a:pt x="19497" y="2536"/>
                  </a:lnTo>
                  <a:lnTo>
                    <a:pt x="18712" y="1993"/>
                  </a:lnTo>
                  <a:lnTo>
                    <a:pt x="17927" y="1510"/>
                  </a:lnTo>
                  <a:lnTo>
                    <a:pt x="17143" y="1027"/>
                  </a:lnTo>
                  <a:lnTo>
                    <a:pt x="16237" y="665"/>
                  </a:lnTo>
                  <a:lnTo>
                    <a:pt x="15332" y="423"/>
                  </a:lnTo>
                  <a:lnTo>
                    <a:pt x="14426" y="182"/>
                  </a:lnTo>
                  <a:lnTo>
                    <a:pt x="13400" y="61"/>
                  </a:lnTo>
                  <a:lnTo>
                    <a:pt x="12374" y="1"/>
                  </a:lnTo>
                  <a:lnTo>
                    <a:pt x="12374" y="1"/>
                  </a:lnTo>
                  <a:lnTo>
                    <a:pt x="11227" y="61"/>
                  </a:lnTo>
                  <a:lnTo>
                    <a:pt x="10141" y="242"/>
                  </a:lnTo>
                  <a:lnTo>
                    <a:pt x="9054" y="484"/>
                  </a:lnTo>
                  <a:lnTo>
                    <a:pt x="7968" y="846"/>
                  </a:lnTo>
                  <a:lnTo>
                    <a:pt x="6942" y="1269"/>
                  </a:lnTo>
                  <a:lnTo>
                    <a:pt x="5976" y="1812"/>
                  </a:lnTo>
                  <a:lnTo>
                    <a:pt x="5070" y="2415"/>
                  </a:lnTo>
                  <a:lnTo>
                    <a:pt x="4225" y="3140"/>
                  </a:lnTo>
                  <a:lnTo>
                    <a:pt x="4225" y="3140"/>
                  </a:lnTo>
                  <a:lnTo>
                    <a:pt x="3561" y="3743"/>
                  </a:lnTo>
                  <a:lnTo>
                    <a:pt x="3018" y="4347"/>
                  </a:lnTo>
                  <a:lnTo>
                    <a:pt x="2475" y="5011"/>
                  </a:lnTo>
                  <a:lnTo>
                    <a:pt x="2052" y="5615"/>
                  </a:lnTo>
                  <a:lnTo>
                    <a:pt x="1630" y="6279"/>
                  </a:lnTo>
                  <a:lnTo>
                    <a:pt x="1328" y="7003"/>
                  </a:lnTo>
                  <a:lnTo>
                    <a:pt x="1026" y="7667"/>
                  </a:lnTo>
                  <a:lnTo>
                    <a:pt x="785" y="8391"/>
                  </a:lnTo>
                  <a:lnTo>
                    <a:pt x="604" y="9115"/>
                  </a:lnTo>
                  <a:lnTo>
                    <a:pt x="423" y="9840"/>
                  </a:lnTo>
                  <a:lnTo>
                    <a:pt x="181" y="11289"/>
                  </a:lnTo>
                  <a:lnTo>
                    <a:pt x="60" y="12737"/>
                  </a:lnTo>
                  <a:lnTo>
                    <a:pt x="0" y="14186"/>
                  </a:lnTo>
                  <a:lnTo>
                    <a:pt x="0" y="14186"/>
                  </a:lnTo>
                  <a:lnTo>
                    <a:pt x="60" y="15936"/>
                  </a:lnTo>
                  <a:lnTo>
                    <a:pt x="242" y="17808"/>
                  </a:lnTo>
                  <a:lnTo>
                    <a:pt x="483" y="19739"/>
                  </a:lnTo>
                  <a:lnTo>
                    <a:pt x="906" y="21731"/>
                  </a:lnTo>
                  <a:lnTo>
                    <a:pt x="1388" y="23723"/>
                  </a:lnTo>
                  <a:lnTo>
                    <a:pt x="1992" y="25654"/>
                  </a:lnTo>
                  <a:lnTo>
                    <a:pt x="2777" y="27586"/>
                  </a:lnTo>
                  <a:lnTo>
                    <a:pt x="3199" y="28552"/>
                  </a:lnTo>
                  <a:lnTo>
                    <a:pt x="3622" y="29457"/>
                  </a:lnTo>
                  <a:lnTo>
                    <a:pt x="4105" y="30363"/>
                  </a:lnTo>
                  <a:lnTo>
                    <a:pt x="4588" y="31208"/>
                  </a:lnTo>
                  <a:lnTo>
                    <a:pt x="5191" y="32053"/>
                  </a:lnTo>
                  <a:lnTo>
                    <a:pt x="5734" y="32837"/>
                  </a:lnTo>
                  <a:lnTo>
                    <a:pt x="6338" y="33562"/>
                  </a:lnTo>
                  <a:lnTo>
                    <a:pt x="7002" y="34286"/>
                  </a:lnTo>
                  <a:lnTo>
                    <a:pt x="7666" y="34950"/>
                  </a:lnTo>
                  <a:lnTo>
                    <a:pt x="8390" y="35554"/>
                  </a:lnTo>
                  <a:lnTo>
                    <a:pt x="9175" y="36097"/>
                  </a:lnTo>
                  <a:lnTo>
                    <a:pt x="9960" y="36580"/>
                  </a:lnTo>
                  <a:lnTo>
                    <a:pt x="10805" y="37002"/>
                  </a:lnTo>
                  <a:lnTo>
                    <a:pt x="11650" y="37365"/>
                  </a:lnTo>
                  <a:lnTo>
                    <a:pt x="12555" y="37606"/>
                  </a:lnTo>
                  <a:lnTo>
                    <a:pt x="13461" y="37847"/>
                  </a:lnTo>
                  <a:lnTo>
                    <a:pt x="14426" y="37968"/>
                  </a:lnTo>
                  <a:lnTo>
                    <a:pt x="15453" y="37968"/>
                  </a:lnTo>
                  <a:lnTo>
                    <a:pt x="15453" y="37968"/>
                  </a:lnTo>
                  <a:lnTo>
                    <a:pt x="16117" y="37968"/>
                  </a:lnTo>
                  <a:lnTo>
                    <a:pt x="16781" y="37908"/>
                  </a:lnTo>
                  <a:lnTo>
                    <a:pt x="17444" y="37787"/>
                  </a:lnTo>
                  <a:lnTo>
                    <a:pt x="18108" y="37666"/>
                  </a:lnTo>
                  <a:lnTo>
                    <a:pt x="18772" y="37485"/>
                  </a:lnTo>
                  <a:lnTo>
                    <a:pt x="19376" y="37304"/>
                  </a:lnTo>
                  <a:lnTo>
                    <a:pt x="20040" y="37063"/>
                  </a:lnTo>
                  <a:lnTo>
                    <a:pt x="20644" y="36761"/>
                  </a:lnTo>
                  <a:lnTo>
                    <a:pt x="21247" y="36459"/>
                  </a:lnTo>
                  <a:lnTo>
                    <a:pt x="21790" y="36097"/>
                  </a:lnTo>
                  <a:lnTo>
                    <a:pt x="22394" y="35735"/>
                  </a:lnTo>
                  <a:lnTo>
                    <a:pt x="22877" y="35312"/>
                  </a:lnTo>
                  <a:lnTo>
                    <a:pt x="23420" y="34890"/>
                  </a:lnTo>
                  <a:lnTo>
                    <a:pt x="23903" y="34407"/>
                  </a:lnTo>
                  <a:lnTo>
                    <a:pt x="24326" y="33864"/>
                  </a:lnTo>
                  <a:lnTo>
                    <a:pt x="24748" y="3338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5" name="Shape 155"/>
            <p:cNvSpPr/>
            <p:nvPr/>
          </p:nvSpPr>
          <p:spPr>
            <a:xfrm>
              <a:off x="2006700" y="2253125"/>
              <a:ext cx="1131800" cy="1088025"/>
            </a:xfrm>
            <a:custGeom>
              <a:avLst/>
              <a:gdLst/>
              <a:ahLst/>
              <a:cxnLst/>
              <a:rect l="0" t="0" r="0" b="0"/>
              <a:pathLst>
                <a:path w="45272" h="43521" fill="none" extrusionOk="0">
                  <a:moveTo>
                    <a:pt x="22213" y="43521"/>
                  </a:moveTo>
                  <a:lnTo>
                    <a:pt x="22213" y="43521"/>
                  </a:lnTo>
                  <a:lnTo>
                    <a:pt x="20825" y="43460"/>
                  </a:lnTo>
                  <a:lnTo>
                    <a:pt x="19557" y="43340"/>
                  </a:lnTo>
                  <a:lnTo>
                    <a:pt x="18290" y="43219"/>
                  </a:lnTo>
                  <a:lnTo>
                    <a:pt x="17083" y="42978"/>
                  </a:lnTo>
                  <a:lnTo>
                    <a:pt x="15936" y="42736"/>
                  </a:lnTo>
                  <a:lnTo>
                    <a:pt x="14789" y="42374"/>
                  </a:lnTo>
                  <a:lnTo>
                    <a:pt x="13702" y="42012"/>
                  </a:lnTo>
                  <a:lnTo>
                    <a:pt x="12616" y="41589"/>
                  </a:lnTo>
                  <a:lnTo>
                    <a:pt x="11590" y="41106"/>
                  </a:lnTo>
                  <a:lnTo>
                    <a:pt x="10624" y="40563"/>
                  </a:lnTo>
                  <a:lnTo>
                    <a:pt x="9719" y="40020"/>
                  </a:lnTo>
                  <a:lnTo>
                    <a:pt x="8813" y="39416"/>
                  </a:lnTo>
                  <a:lnTo>
                    <a:pt x="7968" y="38752"/>
                  </a:lnTo>
                  <a:lnTo>
                    <a:pt x="7183" y="38088"/>
                  </a:lnTo>
                  <a:lnTo>
                    <a:pt x="6399" y="37364"/>
                  </a:lnTo>
                  <a:lnTo>
                    <a:pt x="5674" y="36579"/>
                  </a:lnTo>
                  <a:lnTo>
                    <a:pt x="5010" y="35795"/>
                  </a:lnTo>
                  <a:lnTo>
                    <a:pt x="4346" y="35010"/>
                  </a:lnTo>
                  <a:lnTo>
                    <a:pt x="3803" y="34165"/>
                  </a:lnTo>
                  <a:lnTo>
                    <a:pt x="3199" y="33320"/>
                  </a:lnTo>
                  <a:lnTo>
                    <a:pt x="2717" y="32414"/>
                  </a:lnTo>
                  <a:lnTo>
                    <a:pt x="2234" y="31509"/>
                  </a:lnTo>
                  <a:lnTo>
                    <a:pt x="1811" y="30603"/>
                  </a:lnTo>
                  <a:lnTo>
                    <a:pt x="1449" y="29698"/>
                  </a:lnTo>
                  <a:lnTo>
                    <a:pt x="1147" y="28732"/>
                  </a:lnTo>
                  <a:lnTo>
                    <a:pt x="845" y="27827"/>
                  </a:lnTo>
                  <a:lnTo>
                    <a:pt x="604" y="26861"/>
                  </a:lnTo>
                  <a:lnTo>
                    <a:pt x="363" y="25895"/>
                  </a:lnTo>
                  <a:lnTo>
                    <a:pt x="242" y="24930"/>
                  </a:lnTo>
                  <a:lnTo>
                    <a:pt x="121" y="23964"/>
                  </a:lnTo>
                  <a:lnTo>
                    <a:pt x="61" y="22998"/>
                  </a:lnTo>
                  <a:lnTo>
                    <a:pt x="0" y="22032"/>
                  </a:lnTo>
                  <a:lnTo>
                    <a:pt x="0" y="22032"/>
                  </a:lnTo>
                  <a:lnTo>
                    <a:pt x="61" y="20946"/>
                  </a:lnTo>
                  <a:lnTo>
                    <a:pt x="121" y="19859"/>
                  </a:lnTo>
                  <a:lnTo>
                    <a:pt x="302" y="18773"/>
                  </a:lnTo>
                  <a:lnTo>
                    <a:pt x="483" y="17686"/>
                  </a:lnTo>
                  <a:lnTo>
                    <a:pt x="725" y="16660"/>
                  </a:lnTo>
                  <a:lnTo>
                    <a:pt x="1026" y="15574"/>
                  </a:lnTo>
                  <a:lnTo>
                    <a:pt x="1328" y="14608"/>
                  </a:lnTo>
                  <a:lnTo>
                    <a:pt x="1751" y="13582"/>
                  </a:lnTo>
                  <a:lnTo>
                    <a:pt x="2173" y="12616"/>
                  </a:lnTo>
                  <a:lnTo>
                    <a:pt x="2717" y="11650"/>
                  </a:lnTo>
                  <a:lnTo>
                    <a:pt x="3260" y="10745"/>
                  </a:lnTo>
                  <a:lnTo>
                    <a:pt x="3803" y="9839"/>
                  </a:lnTo>
                  <a:lnTo>
                    <a:pt x="4467" y="8994"/>
                  </a:lnTo>
                  <a:lnTo>
                    <a:pt x="5131" y="8149"/>
                  </a:lnTo>
                  <a:lnTo>
                    <a:pt x="5855" y="7304"/>
                  </a:lnTo>
                  <a:lnTo>
                    <a:pt x="6580" y="6580"/>
                  </a:lnTo>
                  <a:lnTo>
                    <a:pt x="7425" y="5795"/>
                  </a:lnTo>
                  <a:lnTo>
                    <a:pt x="8270" y="5131"/>
                  </a:lnTo>
                  <a:lnTo>
                    <a:pt x="9115" y="4467"/>
                  </a:lnTo>
                  <a:lnTo>
                    <a:pt x="10020" y="3803"/>
                  </a:lnTo>
                  <a:lnTo>
                    <a:pt x="10986" y="3260"/>
                  </a:lnTo>
                  <a:lnTo>
                    <a:pt x="11952" y="2717"/>
                  </a:lnTo>
                  <a:lnTo>
                    <a:pt x="12978" y="2234"/>
                  </a:lnTo>
                  <a:lnTo>
                    <a:pt x="14065" y="1751"/>
                  </a:lnTo>
                  <a:lnTo>
                    <a:pt x="15151" y="1328"/>
                  </a:lnTo>
                  <a:lnTo>
                    <a:pt x="16238" y="1026"/>
                  </a:lnTo>
                  <a:lnTo>
                    <a:pt x="17384" y="725"/>
                  </a:lnTo>
                  <a:lnTo>
                    <a:pt x="18592" y="423"/>
                  </a:lnTo>
                  <a:lnTo>
                    <a:pt x="19799" y="242"/>
                  </a:lnTo>
                  <a:lnTo>
                    <a:pt x="21006" y="121"/>
                  </a:lnTo>
                  <a:lnTo>
                    <a:pt x="22274" y="0"/>
                  </a:lnTo>
                  <a:lnTo>
                    <a:pt x="23541" y="0"/>
                  </a:lnTo>
                  <a:lnTo>
                    <a:pt x="23541" y="0"/>
                  </a:lnTo>
                  <a:lnTo>
                    <a:pt x="24809" y="0"/>
                  </a:lnTo>
                  <a:lnTo>
                    <a:pt x="26016" y="121"/>
                  </a:lnTo>
                  <a:lnTo>
                    <a:pt x="27163" y="242"/>
                  </a:lnTo>
                  <a:lnTo>
                    <a:pt x="28310" y="483"/>
                  </a:lnTo>
                  <a:lnTo>
                    <a:pt x="29457" y="725"/>
                  </a:lnTo>
                  <a:lnTo>
                    <a:pt x="30483" y="1026"/>
                  </a:lnTo>
                  <a:lnTo>
                    <a:pt x="31569" y="1389"/>
                  </a:lnTo>
                  <a:lnTo>
                    <a:pt x="32595" y="1811"/>
                  </a:lnTo>
                  <a:lnTo>
                    <a:pt x="33561" y="2234"/>
                  </a:lnTo>
                  <a:lnTo>
                    <a:pt x="34527" y="2717"/>
                  </a:lnTo>
                  <a:lnTo>
                    <a:pt x="35432" y="3260"/>
                  </a:lnTo>
                  <a:lnTo>
                    <a:pt x="36277" y="3863"/>
                  </a:lnTo>
                  <a:lnTo>
                    <a:pt x="37122" y="4467"/>
                  </a:lnTo>
                  <a:lnTo>
                    <a:pt x="37907" y="5131"/>
                  </a:lnTo>
                  <a:lnTo>
                    <a:pt x="38692" y="5855"/>
                  </a:lnTo>
                  <a:lnTo>
                    <a:pt x="39416" y="6580"/>
                  </a:lnTo>
                  <a:lnTo>
                    <a:pt x="40080" y="7364"/>
                  </a:lnTo>
                  <a:lnTo>
                    <a:pt x="40744" y="8149"/>
                  </a:lnTo>
                  <a:lnTo>
                    <a:pt x="41348" y="8934"/>
                  </a:lnTo>
                  <a:lnTo>
                    <a:pt x="41891" y="9779"/>
                  </a:lnTo>
                  <a:lnTo>
                    <a:pt x="42434" y="10684"/>
                  </a:lnTo>
                  <a:lnTo>
                    <a:pt x="42917" y="11590"/>
                  </a:lnTo>
                  <a:lnTo>
                    <a:pt x="43340" y="12495"/>
                  </a:lnTo>
                  <a:lnTo>
                    <a:pt x="43762" y="13461"/>
                  </a:lnTo>
                  <a:lnTo>
                    <a:pt x="44064" y="14366"/>
                  </a:lnTo>
                  <a:lnTo>
                    <a:pt x="44366" y="15332"/>
                  </a:lnTo>
                  <a:lnTo>
                    <a:pt x="44668" y="16358"/>
                  </a:lnTo>
                  <a:lnTo>
                    <a:pt x="44849" y="17324"/>
                  </a:lnTo>
                  <a:lnTo>
                    <a:pt x="45030" y="18350"/>
                  </a:lnTo>
                  <a:lnTo>
                    <a:pt x="45151" y="19376"/>
                  </a:lnTo>
                  <a:lnTo>
                    <a:pt x="45211" y="20402"/>
                  </a:lnTo>
                  <a:lnTo>
                    <a:pt x="45271" y="21429"/>
                  </a:lnTo>
                  <a:lnTo>
                    <a:pt x="45271" y="21429"/>
                  </a:lnTo>
                  <a:lnTo>
                    <a:pt x="45211" y="22455"/>
                  </a:lnTo>
                  <a:lnTo>
                    <a:pt x="45151" y="23420"/>
                  </a:lnTo>
                  <a:lnTo>
                    <a:pt x="45030" y="24447"/>
                  </a:lnTo>
                  <a:lnTo>
                    <a:pt x="44849" y="25473"/>
                  </a:lnTo>
                  <a:lnTo>
                    <a:pt x="44668" y="26439"/>
                  </a:lnTo>
                  <a:lnTo>
                    <a:pt x="44366" y="27465"/>
                  </a:lnTo>
                  <a:lnTo>
                    <a:pt x="44064" y="28430"/>
                  </a:lnTo>
                  <a:lnTo>
                    <a:pt x="43762" y="29396"/>
                  </a:lnTo>
                  <a:lnTo>
                    <a:pt x="43340" y="30362"/>
                  </a:lnTo>
                  <a:lnTo>
                    <a:pt x="42857" y="31267"/>
                  </a:lnTo>
                  <a:lnTo>
                    <a:pt x="42374" y="32233"/>
                  </a:lnTo>
                  <a:lnTo>
                    <a:pt x="41831" y="33139"/>
                  </a:lnTo>
                  <a:lnTo>
                    <a:pt x="41287" y="33984"/>
                  </a:lnTo>
                  <a:lnTo>
                    <a:pt x="40623" y="34829"/>
                  </a:lnTo>
                  <a:lnTo>
                    <a:pt x="39959" y="35674"/>
                  </a:lnTo>
                  <a:lnTo>
                    <a:pt x="39296" y="36459"/>
                  </a:lnTo>
                  <a:lnTo>
                    <a:pt x="38511" y="37243"/>
                  </a:lnTo>
                  <a:lnTo>
                    <a:pt x="37726" y="37968"/>
                  </a:lnTo>
                  <a:lnTo>
                    <a:pt x="36881" y="38692"/>
                  </a:lnTo>
                  <a:lnTo>
                    <a:pt x="35976" y="39356"/>
                  </a:lnTo>
                  <a:lnTo>
                    <a:pt x="35070" y="39959"/>
                  </a:lnTo>
                  <a:lnTo>
                    <a:pt x="34104" y="40503"/>
                  </a:lnTo>
                  <a:lnTo>
                    <a:pt x="33078" y="41046"/>
                  </a:lnTo>
                  <a:lnTo>
                    <a:pt x="32052" y="41529"/>
                  </a:lnTo>
                  <a:lnTo>
                    <a:pt x="30966" y="42012"/>
                  </a:lnTo>
                  <a:lnTo>
                    <a:pt x="29819" y="42374"/>
                  </a:lnTo>
                  <a:lnTo>
                    <a:pt x="28612" y="42676"/>
                  </a:lnTo>
                  <a:lnTo>
                    <a:pt x="27404" y="42978"/>
                  </a:lnTo>
                  <a:lnTo>
                    <a:pt x="26197" y="43219"/>
                  </a:lnTo>
                  <a:lnTo>
                    <a:pt x="24869" y="43340"/>
                  </a:lnTo>
                  <a:lnTo>
                    <a:pt x="23541" y="43460"/>
                  </a:lnTo>
                  <a:lnTo>
                    <a:pt x="22213" y="4352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6" name="Shape 156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extrusionOk="0">
                  <a:moveTo>
                    <a:pt x="36881" y="0"/>
                  </a:moveTo>
                  <a:lnTo>
                    <a:pt x="34708" y="61"/>
                  </a:lnTo>
                  <a:lnTo>
                    <a:pt x="32656" y="181"/>
                  </a:lnTo>
                  <a:lnTo>
                    <a:pt x="30603" y="423"/>
                  </a:lnTo>
                  <a:lnTo>
                    <a:pt x="28611" y="725"/>
                  </a:lnTo>
                  <a:lnTo>
                    <a:pt x="26680" y="1147"/>
                  </a:lnTo>
                  <a:lnTo>
                    <a:pt x="24809" y="1630"/>
                  </a:lnTo>
                  <a:lnTo>
                    <a:pt x="23058" y="2234"/>
                  </a:lnTo>
                  <a:lnTo>
                    <a:pt x="21308" y="2837"/>
                  </a:lnTo>
                  <a:lnTo>
                    <a:pt x="19618" y="3561"/>
                  </a:lnTo>
                  <a:lnTo>
                    <a:pt x="17988" y="4346"/>
                  </a:lnTo>
                  <a:lnTo>
                    <a:pt x="16479" y="5191"/>
                  </a:lnTo>
                  <a:lnTo>
                    <a:pt x="14970" y="6157"/>
                  </a:lnTo>
                  <a:lnTo>
                    <a:pt x="13581" y="7123"/>
                  </a:lnTo>
                  <a:lnTo>
                    <a:pt x="12193" y="8149"/>
                  </a:lnTo>
                  <a:lnTo>
                    <a:pt x="10926" y="9296"/>
                  </a:lnTo>
                  <a:lnTo>
                    <a:pt x="9718" y="10443"/>
                  </a:lnTo>
                  <a:lnTo>
                    <a:pt x="8571" y="11650"/>
                  </a:lnTo>
                  <a:lnTo>
                    <a:pt x="7485" y="12917"/>
                  </a:lnTo>
                  <a:lnTo>
                    <a:pt x="6459" y="14245"/>
                  </a:lnTo>
                  <a:lnTo>
                    <a:pt x="5493" y="15573"/>
                  </a:lnTo>
                  <a:lnTo>
                    <a:pt x="4648" y="16962"/>
                  </a:lnTo>
                  <a:lnTo>
                    <a:pt x="3863" y="18410"/>
                  </a:lnTo>
                  <a:lnTo>
                    <a:pt x="3139" y="19859"/>
                  </a:lnTo>
                  <a:lnTo>
                    <a:pt x="2475" y="21368"/>
                  </a:lnTo>
                  <a:lnTo>
                    <a:pt x="1871" y="22877"/>
                  </a:lnTo>
                  <a:lnTo>
                    <a:pt x="1388" y="24446"/>
                  </a:lnTo>
                  <a:lnTo>
                    <a:pt x="966" y="26016"/>
                  </a:lnTo>
                  <a:lnTo>
                    <a:pt x="604" y="27585"/>
                  </a:lnTo>
                  <a:lnTo>
                    <a:pt x="362" y="29215"/>
                  </a:lnTo>
                  <a:lnTo>
                    <a:pt x="121" y="30845"/>
                  </a:lnTo>
                  <a:lnTo>
                    <a:pt x="0" y="32474"/>
                  </a:lnTo>
                  <a:lnTo>
                    <a:pt x="0" y="34165"/>
                  </a:lnTo>
                  <a:lnTo>
                    <a:pt x="0" y="35553"/>
                  </a:lnTo>
                  <a:lnTo>
                    <a:pt x="121" y="36941"/>
                  </a:lnTo>
                  <a:lnTo>
                    <a:pt x="242" y="38330"/>
                  </a:lnTo>
                  <a:lnTo>
                    <a:pt x="423" y="39718"/>
                  </a:lnTo>
                  <a:lnTo>
                    <a:pt x="725" y="41167"/>
                  </a:lnTo>
                  <a:lnTo>
                    <a:pt x="1026" y="42615"/>
                  </a:lnTo>
                  <a:lnTo>
                    <a:pt x="1449" y="44003"/>
                  </a:lnTo>
                  <a:lnTo>
                    <a:pt x="1871" y="45452"/>
                  </a:lnTo>
                  <a:lnTo>
                    <a:pt x="2415" y="46840"/>
                  </a:lnTo>
                  <a:lnTo>
                    <a:pt x="2958" y="48229"/>
                  </a:lnTo>
                  <a:lnTo>
                    <a:pt x="3622" y="49617"/>
                  </a:lnTo>
                  <a:lnTo>
                    <a:pt x="4346" y="51005"/>
                  </a:lnTo>
                  <a:lnTo>
                    <a:pt x="5131" y="52333"/>
                  </a:lnTo>
                  <a:lnTo>
                    <a:pt x="5976" y="53661"/>
                  </a:lnTo>
                  <a:lnTo>
                    <a:pt x="6942" y="54929"/>
                  </a:lnTo>
                  <a:lnTo>
                    <a:pt x="7907" y="56136"/>
                  </a:lnTo>
                  <a:lnTo>
                    <a:pt x="8994" y="57343"/>
                  </a:lnTo>
                  <a:lnTo>
                    <a:pt x="10141" y="58430"/>
                  </a:lnTo>
                  <a:lnTo>
                    <a:pt x="11408" y="59577"/>
                  </a:lnTo>
                  <a:lnTo>
                    <a:pt x="12676" y="60603"/>
                  </a:lnTo>
                  <a:lnTo>
                    <a:pt x="14064" y="61569"/>
                  </a:lnTo>
                  <a:lnTo>
                    <a:pt x="15513" y="62474"/>
                  </a:lnTo>
                  <a:lnTo>
                    <a:pt x="17082" y="63319"/>
                  </a:lnTo>
                  <a:lnTo>
                    <a:pt x="18712" y="64104"/>
                  </a:lnTo>
                  <a:lnTo>
                    <a:pt x="20402" y="64768"/>
                  </a:lnTo>
                  <a:lnTo>
                    <a:pt x="22213" y="65432"/>
                  </a:lnTo>
                  <a:lnTo>
                    <a:pt x="24084" y="65915"/>
                  </a:lnTo>
                  <a:lnTo>
                    <a:pt x="26076" y="66397"/>
                  </a:lnTo>
                  <a:lnTo>
                    <a:pt x="28068" y="66760"/>
                  </a:lnTo>
                  <a:lnTo>
                    <a:pt x="30241" y="67001"/>
                  </a:lnTo>
                  <a:lnTo>
                    <a:pt x="32475" y="67182"/>
                  </a:lnTo>
                  <a:lnTo>
                    <a:pt x="34768" y="67243"/>
                  </a:lnTo>
                  <a:lnTo>
                    <a:pt x="36639" y="67182"/>
                  </a:lnTo>
                  <a:lnTo>
                    <a:pt x="38511" y="67061"/>
                  </a:lnTo>
                  <a:lnTo>
                    <a:pt x="40382" y="66941"/>
                  </a:lnTo>
                  <a:lnTo>
                    <a:pt x="42193" y="66760"/>
                  </a:lnTo>
                  <a:lnTo>
                    <a:pt x="45935" y="66277"/>
                  </a:lnTo>
                  <a:lnTo>
                    <a:pt x="49859" y="65673"/>
                  </a:lnTo>
                  <a:lnTo>
                    <a:pt x="62897" y="62655"/>
                  </a:lnTo>
                  <a:lnTo>
                    <a:pt x="62897" y="51488"/>
                  </a:lnTo>
                  <a:lnTo>
                    <a:pt x="62957" y="49255"/>
                  </a:lnTo>
                  <a:lnTo>
                    <a:pt x="63078" y="47142"/>
                  </a:lnTo>
                  <a:lnTo>
                    <a:pt x="63198" y="46659"/>
                  </a:lnTo>
                  <a:lnTo>
                    <a:pt x="63379" y="46297"/>
                  </a:lnTo>
                  <a:lnTo>
                    <a:pt x="63621" y="45995"/>
                  </a:lnTo>
                  <a:lnTo>
                    <a:pt x="63983" y="45633"/>
                  </a:lnTo>
                  <a:lnTo>
                    <a:pt x="66398" y="43400"/>
                  </a:lnTo>
                  <a:lnTo>
                    <a:pt x="47022" y="43400"/>
                  </a:lnTo>
                  <a:lnTo>
                    <a:pt x="39718" y="47323"/>
                  </a:lnTo>
                  <a:lnTo>
                    <a:pt x="53480" y="46599"/>
                  </a:lnTo>
                  <a:lnTo>
                    <a:pt x="53480" y="61267"/>
                  </a:lnTo>
                  <a:lnTo>
                    <a:pt x="51368" y="62112"/>
                  </a:lnTo>
                  <a:lnTo>
                    <a:pt x="50160" y="62474"/>
                  </a:lnTo>
                  <a:lnTo>
                    <a:pt x="48893" y="62836"/>
                  </a:lnTo>
                  <a:lnTo>
                    <a:pt x="47444" y="63138"/>
                  </a:lnTo>
                  <a:lnTo>
                    <a:pt x="45814" y="63379"/>
                  </a:lnTo>
                  <a:lnTo>
                    <a:pt x="43943" y="63500"/>
                  </a:lnTo>
                  <a:lnTo>
                    <a:pt x="41891" y="63561"/>
                  </a:lnTo>
                  <a:lnTo>
                    <a:pt x="40080" y="63500"/>
                  </a:lnTo>
                  <a:lnTo>
                    <a:pt x="38269" y="63379"/>
                  </a:lnTo>
                  <a:lnTo>
                    <a:pt x="36519" y="63138"/>
                  </a:lnTo>
                  <a:lnTo>
                    <a:pt x="34768" y="62836"/>
                  </a:lnTo>
                  <a:lnTo>
                    <a:pt x="33138" y="62414"/>
                  </a:lnTo>
                  <a:lnTo>
                    <a:pt x="31509" y="61931"/>
                  </a:lnTo>
                  <a:lnTo>
                    <a:pt x="29939" y="61388"/>
                  </a:lnTo>
                  <a:lnTo>
                    <a:pt x="28430" y="60784"/>
                  </a:lnTo>
                  <a:lnTo>
                    <a:pt x="26982" y="60060"/>
                  </a:lnTo>
                  <a:lnTo>
                    <a:pt x="25593" y="59275"/>
                  </a:lnTo>
                  <a:lnTo>
                    <a:pt x="24205" y="58430"/>
                  </a:lnTo>
                  <a:lnTo>
                    <a:pt x="22937" y="57524"/>
                  </a:lnTo>
                  <a:lnTo>
                    <a:pt x="21670" y="56559"/>
                  </a:lnTo>
                  <a:lnTo>
                    <a:pt x="20463" y="55532"/>
                  </a:lnTo>
                  <a:lnTo>
                    <a:pt x="19376" y="54446"/>
                  </a:lnTo>
                  <a:lnTo>
                    <a:pt x="18290" y="53359"/>
                  </a:lnTo>
                  <a:lnTo>
                    <a:pt x="17263" y="52152"/>
                  </a:lnTo>
                  <a:lnTo>
                    <a:pt x="16298" y="50945"/>
                  </a:lnTo>
                  <a:lnTo>
                    <a:pt x="15392" y="49617"/>
                  </a:lnTo>
                  <a:lnTo>
                    <a:pt x="14547" y="48349"/>
                  </a:lnTo>
                  <a:lnTo>
                    <a:pt x="13763" y="46961"/>
                  </a:lnTo>
                  <a:lnTo>
                    <a:pt x="13038" y="45573"/>
                  </a:lnTo>
                  <a:lnTo>
                    <a:pt x="12435" y="44124"/>
                  </a:lnTo>
                  <a:lnTo>
                    <a:pt x="11831" y="42676"/>
                  </a:lnTo>
                  <a:lnTo>
                    <a:pt x="11288" y="41167"/>
                  </a:lnTo>
                  <a:lnTo>
                    <a:pt x="10865" y="39657"/>
                  </a:lnTo>
                  <a:lnTo>
                    <a:pt x="10443" y="38148"/>
                  </a:lnTo>
                  <a:lnTo>
                    <a:pt x="10141" y="36579"/>
                  </a:lnTo>
                  <a:lnTo>
                    <a:pt x="9899" y="35010"/>
                  </a:lnTo>
                  <a:lnTo>
                    <a:pt x="9718" y="33440"/>
                  </a:lnTo>
                  <a:lnTo>
                    <a:pt x="9598" y="31811"/>
                  </a:lnTo>
                  <a:lnTo>
                    <a:pt x="9598" y="30241"/>
                  </a:lnTo>
                  <a:lnTo>
                    <a:pt x="9598" y="28732"/>
                  </a:lnTo>
                  <a:lnTo>
                    <a:pt x="9718" y="27283"/>
                  </a:lnTo>
                  <a:lnTo>
                    <a:pt x="9839" y="25895"/>
                  </a:lnTo>
                  <a:lnTo>
                    <a:pt x="10080" y="24507"/>
                  </a:lnTo>
                  <a:lnTo>
                    <a:pt x="10322" y="23119"/>
                  </a:lnTo>
                  <a:lnTo>
                    <a:pt x="10684" y="21791"/>
                  </a:lnTo>
                  <a:lnTo>
                    <a:pt x="11046" y="20523"/>
                  </a:lnTo>
                  <a:lnTo>
                    <a:pt x="11469" y="19255"/>
                  </a:lnTo>
                  <a:lnTo>
                    <a:pt x="12012" y="18048"/>
                  </a:lnTo>
                  <a:lnTo>
                    <a:pt x="12555" y="16901"/>
                  </a:lnTo>
                  <a:lnTo>
                    <a:pt x="13159" y="15754"/>
                  </a:lnTo>
                  <a:lnTo>
                    <a:pt x="13763" y="14668"/>
                  </a:lnTo>
                  <a:lnTo>
                    <a:pt x="14487" y="13642"/>
                  </a:lnTo>
                  <a:lnTo>
                    <a:pt x="15211" y="12616"/>
                  </a:lnTo>
                  <a:lnTo>
                    <a:pt x="15996" y="11710"/>
                  </a:lnTo>
                  <a:lnTo>
                    <a:pt x="16841" y="10744"/>
                  </a:lnTo>
                  <a:lnTo>
                    <a:pt x="17686" y="9899"/>
                  </a:lnTo>
                  <a:lnTo>
                    <a:pt x="18591" y="9115"/>
                  </a:lnTo>
                  <a:lnTo>
                    <a:pt x="19557" y="8330"/>
                  </a:lnTo>
                  <a:lnTo>
                    <a:pt x="20523" y="7606"/>
                  </a:lnTo>
                  <a:lnTo>
                    <a:pt x="21549" y="6942"/>
                  </a:lnTo>
                  <a:lnTo>
                    <a:pt x="22636" y="6338"/>
                  </a:lnTo>
                  <a:lnTo>
                    <a:pt x="23722" y="5734"/>
                  </a:lnTo>
                  <a:lnTo>
                    <a:pt x="24809" y="5252"/>
                  </a:lnTo>
                  <a:lnTo>
                    <a:pt x="26016" y="4829"/>
                  </a:lnTo>
                  <a:lnTo>
                    <a:pt x="27163" y="4407"/>
                  </a:lnTo>
                  <a:lnTo>
                    <a:pt x="28370" y="4044"/>
                  </a:lnTo>
                  <a:lnTo>
                    <a:pt x="29638" y="3803"/>
                  </a:lnTo>
                  <a:lnTo>
                    <a:pt x="30905" y="3561"/>
                  </a:lnTo>
                  <a:lnTo>
                    <a:pt x="32233" y="3441"/>
                  </a:lnTo>
                  <a:lnTo>
                    <a:pt x="33501" y="3320"/>
                  </a:lnTo>
                  <a:lnTo>
                    <a:pt x="34889" y="3320"/>
                  </a:lnTo>
                  <a:lnTo>
                    <a:pt x="36821" y="3380"/>
                  </a:lnTo>
                  <a:lnTo>
                    <a:pt x="38692" y="3561"/>
                  </a:lnTo>
                  <a:lnTo>
                    <a:pt x="40382" y="3803"/>
                  </a:lnTo>
                  <a:lnTo>
                    <a:pt x="42012" y="4225"/>
                  </a:lnTo>
                  <a:lnTo>
                    <a:pt x="43521" y="4648"/>
                  </a:lnTo>
                  <a:lnTo>
                    <a:pt x="44969" y="5191"/>
                  </a:lnTo>
                  <a:lnTo>
                    <a:pt x="46297" y="5795"/>
                  </a:lnTo>
                  <a:lnTo>
                    <a:pt x="47504" y="6459"/>
                  </a:lnTo>
                  <a:lnTo>
                    <a:pt x="48651" y="7123"/>
                  </a:lnTo>
                  <a:lnTo>
                    <a:pt x="49677" y="7847"/>
                  </a:lnTo>
                  <a:lnTo>
                    <a:pt x="50643" y="8571"/>
                  </a:lnTo>
                  <a:lnTo>
                    <a:pt x="51549" y="9235"/>
                  </a:lnTo>
                  <a:lnTo>
                    <a:pt x="53118" y="10624"/>
                  </a:lnTo>
                  <a:lnTo>
                    <a:pt x="54386" y="11891"/>
                  </a:lnTo>
                  <a:lnTo>
                    <a:pt x="52152" y="15513"/>
                  </a:lnTo>
                  <a:lnTo>
                    <a:pt x="52152" y="15513"/>
                  </a:lnTo>
                  <a:lnTo>
                    <a:pt x="55351" y="14789"/>
                  </a:lnTo>
                  <a:lnTo>
                    <a:pt x="62897" y="7606"/>
                  </a:lnTo>
                  <a:lnTo>
                    <a:pt x="61146" y="6398"/>
                  </a:lnTo>
                  <a:lnTo>
                    <a:pt x="59999" y="5674"/>
                  </a:lnTo>
                  <a:lnTo>
                    <a:pt x="58671" y="4950"/>
                  </a:lnTo>
                  <a:lnTo>
                    <a:pt x="57162" y="4225"/>
                  </a:lnTo>
                  <a:lnTo>
                    <a:pt x="55351" y="3441"/>
                  </a:lnTo>
                  <a:lnTo>
                    <a:pt x="53239" y="2656"/>
                  </a:lnTo>
                  <a:lnTo>
                    <a:pt x="50824" y="1932"/>
                  </a:lnTo>
                  <a:lnTo>
                    <a:pt x="49195" y="1509"/>
                  </a:lnTo>
                  <a:lnTo>
                    <a:pt x="47565" y="1147"/>
                  </a:lnTo>
                  <a:lnTo>
                    <a:pt x="45814" y="785"/>
                  </a:lnTo>
                  <a:lnTo>
                    <a:pt x="44124" y="543"/>
                  </a:lnTo>
                  <a:lnTo>
                    <a:pt x="42313" y="302"/>
                  </a:lnTo>
                  <a:lnTo>
                    <a:pt x="40563" y="121"/>
                  </a:lnTo>
                  <a:lnTo>
                    <a:pt x="38692" y="61"/>
                  </a:lnTo>
                  <a:lnTo>
                    <a:pt x="36881" y="0"/>
                  </a:lnTo>
                  <a:close/>
                </a:path>
              </a:pathLst>
            </a:custGeom>
            <a:solidFill>
              <a:srgbClr val="0079C1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7" name="Shape 157"/>
            <p:cNvSpPr/>
            <p:nvPr/>
          </p:nvSpPr>
          <p:spPr>
            <a:xfrm>
              <a:off x="247175" y="1738550"/>
              <a:ext cx="1659950" cy="1681075"/>
            </a:xfrm>
            <a:custGeom>
              <a:avLst/>
              <a:gdLst/>
              <a:ahLst/>
              <a:cxnLst/>
              <a:rect l="0" t="0" r="0" b="0"/>
              <a:pathLst>
                <a:path w="66398" h="67243" fill="none" extrusionOk="0">
                  <a:moveTo>
                    <a:pt x="62897" y="62655"/>
                  </a:moveTo>
                  <a:lnTo>
                    <a:pt x="49859" y="65673"/>
                  </a:lnTo>
                  <a:lnTo>
                    <a:pt x="49859" y="65673"/>
                  </a:lnTo>
                  <a:lnTo>
                    <a:pt x="45935" y="66277"/>
                  </a:lnTo>
                  <a:lnTo>
                    <a:pt x="42193" y="66760"/>
                  </a:lnTo>
                  <a:lnTo>
                    <a:pt x="40382" y="66941"/>
                  </a:lnTo>
                  <a:lnTo>
                    <a:pt x="38511" y="67061"/>
                  </a:lnTo>
                  <a:lnTo>
                    <a:pt x="36639" y="67182"/>
                  </a:lnTo>
                  <a:lnTo>
                    <a:pt x="34768" y="67243"/>
                  </a:lnTo>
                  <a:lnTo>
                    <a:pt x="34768" y="67243"/>
                  </a:lnTo>
                  <a:lnTo>
                    <a:pt x="32475" y="67182"/>
                  </a:lnTo>
                  <a:lnTo>
                    <a:pt x="30241" y="67001"/>
                  </a:lnTo>
                  <a:lnTo>
                    <a:pt x="28068" y="66760"/>
                  </a:lnTo>
                  <a:lnTo>
                    <a:pt x="26076" y="66397"/>
                  </a:lnTo>
                  <a:lnTo>
                    <a:pt x="24084" y="65915"/>
                  </a:lnTo>
                  <a:lnTo>
                    <a:pt x="22213" y="65432"/>
                  </a:lnTo>
                  <a:lnTo>
                    <a:pt x="20402" y="64768"/>
                  </a:lnTo>
                  <a:lnTo>
                    <a:pt x="18712" y="64104"/>
                  </a:lnTo>
                  <a:lnTo>
                    <a:pt x="17082" y="63319"/>
                  </a:lnTo>
                  <a:lnTo>
                    <a:pt x="15513" y="62474"/>
                  </a:lnTo>
                  <a:lnTo>
                    <a:pt x="14064" y="61569"/>
                  </a:lnTo>
                  <a:lnTo>
                    <a:pt x="12676" y="60603"/>
                  </a:lnTo>
                  <a:lnTo>
                    <a:pt x="11408" y="59577"/>
                  </a:lnTo>
                  <a:lnTo>
                    <a:pt x="10141" y="58430"/>
                  </a:lnTo>
                  <a:lnTo>
                    <a:pt x="8994" y="57343"/>
                  </a:lnTo>
                  <a:lnTo>
                    <a:pt x="7907" y="56136"/>
                  </a:lnTo>
                  <a:lnTo>
                    <a:pt x="6942" y="54929"/>
                  </a:lnTo>
                  <a:lnTo>
                    <a:pt x="5976" y="53661"/>
                  </a:lnTo>
                  <a:lnTo>
                    <a:pt x="5131" y="52333"/>
                  </a:lnTo>
                  <a:lnTo>
                    <a:pt x="4346" y="51005"/>
                  </a:lnTo>
                  <a:lnTo>
                    <a:pt x="3622" y="49617"/>
                  </a:lnTo>
                  <a:lnTo>
                    <a:pt x="2958" y="48229"/>
                  </a:lnTo>
                  <a:lnTo>
                    <a:pt x="2415" y="46840"/>
                  </a:lnTo>
                  <a:lnTo>
                    <a:pt x="1871" y="45452"/>
                  </a:lnTo>
                  <a:lnTo>
                    <a:pt x="1449" y="44003"/>
                  </a:lnTo>
                  <a:lnTo>
                    <a:pt x="1026" y="42615"/>
                  </a:lnTo>
                  <a:lnTo>
                    <a:pt x="725" y="41167"/>
                  </a:lnTo>
                  <a:lnTo>
                    <a:pt x="423" y="39718"/>
                  </a:lnTo>
                  <a:lnTo>
                    <a:pt x="242" y="38330"/>
                  </a:lnTo>
                  <a:lnTo>
                    <a:pt x="121" y="36941"/>
                  </a:lnTo>
                  <a:lnTo>
                    <a:pt x="0" y="35553"/>
                  </a:lnTo>
                  <a:lnTo>
                    <a:pt x="0" y="34165"/>
                  </a:lnTo>
                  <a:lnTo>
                    <a:pt x="0" y="34165"/>
                  </a:lnTo>
                  <a:lnTo>
                    <a:pt x="0" y="32474"/>
                  </a:lnTo>
                  <a:lnTo>
                    <a:pt x="121" y="30845"/>
                  </a:lnTo>
                  <a:lnTo>
                    <a:pt x="362" y="29215"/>
                  </a:lnTo>
                  <a:lnTo>
                    <a:pt x="604" y="27585"/>
                  </a:lnTo>
                  <a:lnTo>
                    <a:pt x="966" y="26016"/>
                  </a:lnTo>
                  <a:lnTo>
                    <a:pt x="1388" y="24446"/>
                  </a:lnTo>
                  <a:lnTo>
                    <a:pt x="1871" y="22877"/>
                  </a:lnTo>
                  <a:lnTo>
                    <a:pt x="2475" y="21368"/>
                  </a:lnTo>
                  <a:lnTo>
                    <a:pt x="3139" y="19859"/>
                  </a:lnTo>
                  <a:lnTo>
                    <a:pt x="3863" y="18410"/>
                  </a:lnTo>
                  <a:lnTo>
                    <a:pt x="4648" y="16962"/>
                  </a:lnTo>
                  <a:lnTo>
                    <a:pt x="5493" y="15573"/>
                  </a:lnTo>
                  <a:lnTo>
                    <a:pt x="6459" y="14245"/>
                  </a:lnTo>
                  <a:lnTo>
                    <a:pt x="7485" y="12917"/>
                  </a:lnTo>
                  <a:lnTo>
                    <a:pt x="8571" y="11650"/>
                  </a:lnTo>
                  <a:lnTo>
                    <a:pt x="9718" y="10443"/>
                  </a:lnTo>
                  <a:lnTo>
                    <a:pt x="10926" y="9296"/>
                  </a:lnTo>
                  <a:lnTo>
                    <a:pt x="12193" y="8149"/>
                  </a:lnTo>
                  <a:lnTo>
                    <a:pt x="13581" y="7123"/>
                  </a:lnTo>
                  <a:lnTo>
                    <a:pt x="14970" y="6157"/>
                  </a:lnTo>
                  <a:lnTo>
                    <a:pt x="16479" y="5191"/>
                  </a:lnTo>
                  <a:lnTo>
                    <a:pt x="17988" y="4346"/>
                  </a:lnTo>
                  <a:lnTo>
                    <a:pt x="19618" y="3561"/>
                  </a:lnTo>
                  <a:lnTo>
                    <a:pt x="21308" y="2837"/>
                  </a:lnTo>
                  <a:lnTo>
                    <a:pt x="23058" y="2234"/>
                  </a:lnTo>
                  <a:lnTo>
                    <a:pt x="24809" y="1630"/>
                  </a:lnTo>
                  <a:lnTo>
                    <a:pt x="26680" y="1147"/>
                  </a:lnTo>
                  <a:lnTo>
                    <a:pt x="28611" y="725"/>
                  </a:lnTo>
                  <a:lnTo>
                    <a:pt x="30603" y="423"/>
                  </a:lnTo>
                  <a:lnTo>
                    <a:pt x="32656" y="181"/>
                  </a:lnTo>
                  <a:lnTo>
                    <a:pt x="34708" y="61"/>
                  </a:lnTo>
                  <a:lnTo>
                    <a:pt x="36881" y="0"/>
                  </a:lnTo>
                  <a:lnTo>
                    <a:pt x="36881" y="0"/>
                  </a:lnTo>
                  <a:lnTo>
                    <a:pt x="38692" y="61"/>
                  </a:lnTo>
                  <a:lnTo>
                    <a:pt x="40563" y="121"/>
                  </a:lnTo>
                  <a:lnTo>
                    <a:pt x="42313" y="302"/>
                  </a:lnTo>
                  <a:lnTo>
                    <a:pt x="44124" y="543"/>
                  </a:lnTo>
                  <a:lnTo>
                    <a:pt x="45814" y="785"/>
                  </a:lnTo>
                  <a:lnTo>
                    <a:pt x="47565" y="1147"/>
                  </a:lnTo>
                  <a:lnTo>
                    <a:pt x="49195" y="1509"/>
                  </a:lnTo>
                  <a:lnTo>
                    <a:pt x="50824" y="1932"/>
                  </a:lnTo>
                  <a:lnTo>
                    <a:pt x="50824" y="1932"/>
                  </a:lnTo>
                  <a:lnTo>
                    <a:pt x="53239" y="2656"/>
                  </a:lnTo>
                  <a:lnTo>
                    <a:pt x="55351" y="3441"/>
                  </a:lnTo>
                  <a:lnTo>
                    <a:pt x="57162" y="4225"/>
                  </a:lnTo>
                  <a:lnTo>
                    <a:pt x="58671" y="4950"/>
                  </a:lnTo>
                  <a:lnTo>
                    <a:pt x="59999" y="5674"/>
                  </a:lnTo>
                  <a:lnTo>
                    <a:pt x="61146" y="6398"/>
                  </a:lnTo>
                  <a:lnTo>
                    <a:pt x="62897" y="7606"/>
                  </a:lnTo>
                  <a:lnTo>
                    <a:pt x="55351" y="14789"/>
                  </a:lnTo>
                  <a:lnTo>
                    <a:pt x="52152" y="15513"/>
                  </a:lnTo>
                  <a:lnTo>
                    <a:pt x="54386" y="11891"/>
                  </a:lnTo>
                  <a:lnTo>
                    <a:pt x="54386" y="11891"/>
                  </a:lnTo>
                  <a:lnTo>
                    <a:pt x="53118" y="10624"/>
                  </a:lnTo>
                  <a:lnTo>
                    <a:pt x="51549" y="9235"/>
                  </a:lnTo>
                  <a:lnTo>
                    <a:pt x="50643" y="8571"/>
                  </a:lnTo>
                  <a:lnTo>
                    <a:pt x="49677" y="7847"/>
                  </a:lnTo>
                  <a:lnTo>
                    <a:pt x="48651" y="7123"/>
                  </a:lnTo>
                  <a:lnTo>
                    <a:pt x="47504" y="6459"/>
                  </a:lnTo>
                  <a:lnTo>
                    <a:pt x="46297" y="5795"/>
                  </a:lnTo>
                  <a:lnTo>
                    <a:pt x="44969" y="5191"/>
                  </a:lnTo>
                  <a:lnTo>
                    <a:pt x="43521" y="4648"/>
                  </a:lnTo>
                  <a:lnTo>
                    <a:pt x="42012" y="4225"/>
                  </a:lnTo>
                  <a:lnTo>
                    <a:pt x="40382" y="3803"/>
                  </a:lnTo>
                  <a:lnTo>
                    <a:pt x="38692" y="3561"/>
                  </a:lnTo>
                  <a:lnTo>
                    <a:pt x="36821" y="3380"/>
                  </a:lnTo>
                  <a:lnTo>
                    <a:pt x="34889" y="3320"/>
                  </a:lnTo>
                  <a:lnTo>
                    <a:pt x="34889" y="3320"/>
                  </a:lnTo>
                  <a:lnTo>
                    <a:pt x="33501" y="3320"/>
                  </a:lnTo>
                  <a:lnTo>
                    <a:pt x="32233" y="3441"/>
                  </a:lnTo>
                  <a:lnTo>
                    <a:pt x="30905" y="3561"/>
                  </a:lnTo>
                  <a:lnTo>
                    <a:pt x="29638" y="3803"/>
                  </a:lnTo>
                  <a:lnTo>
                    <a:pt x="28370" y="4044"/>
                  </a:lnTo>
                  <a:lnTo>
                    <a:pt x="27163" y="4407"/>
                  </a:lnTo>
                  <a:lnTo>
                    <a:pt x="26016" y="4829"/>
                  </a:lnTo>
                  <a:lnTo>
                    <a:pt x="24809" y="5252"/>
                  </a:lnTo>
                  <a:lnTo>
                    <a:pt x="23722" y="5734"/>
                  </a:lnTo>
                  <a:lnTo>
                    <a:pt x="22636" y="6338"/>
                  </a:lnTo>
                  <a:lnTo>
                    <a:pt x="21549" y="6942"/>
                  </a:lnTo>
                  <a:lnTo>
                    <a:pt x="20523" y="7606"/>
                  </a:lnTo>
                  <a:lnTo>
                    <a:pt x="19557" y="8330"/>
                  </a:lnTo>
                  <a:lnTo>
                    <a:pt x="18591" y="9115"/>
                  </a:lnTo>
                  <a:lnTo>
                    <a:pt x="17686" y="9899"/>
                  </a:lnTo>
                  <a:lnTo>
                    <a:pt x="16841" y="10744"/>
                  </a:lnTo>
                  <a:lnTo>
                    <a:pt x="15996" y="11710"/>
                  </a:lnTo>
                  <a:lnTo>
                    <a:pt x="15211" y="12616"/>
                  </a:lnTo>
                  <a:lnTo>
                    <a:pt x="14487" y="13642"/>
                  </a:lnTo>
                  <a:lnTo>
                    <a:pt x="13763" y="14668"/>
                  </a:lnTo>
                  <a:lnTo>
                    <a:pt x="13159" y="15754"/>
                  </a:lnTo>
                  <a:lnTo>
                    <a:pt x="12555" y="16901"/>
                  </a:lnTo>
                  <a:lnTo>
                    <a:pt x="12012" y="18048"/>
                  </a:lnTo>
                  <a:lnTo>
                    <a:pt x="11469" y="19255"/>
                  </a:lnTo>
                  <a:lnTo>
                    <a:pt x="11046" y="20523"/>
                  </a:lnTo>
                  <a:lnTo>
                    <a:pt x="10684" y="21791"/>
                  </a:lnTo>
                  <a:lnTo>
                    <a:pt x="10322" y="23119"/>
                  </a:lnTo>
                  <a:lnTo>
                    <a:pt x="10080" y="24507"/>
                  </a:lnTo>
                  <a:lnTo>
                    <a:pt x="9839" y="25895"/>
                  </a:lnTo>
                  <a:lnTo>
                    <a:pt x="9718" y="27283"/>
                  </a:lnTo>
                  <a:lnTo>
                    <a:pt x="9598" y="28732"/>
                  </a:lnTo>
                  <a:lnTo>
                    <a:pt x="9598" y="30241"/>
                  </a:lnTo>
                  <a:lnTo>
                    <a:pt x="9598" y="30241"/>
                  </a:lnTo>
                  <a:lnTo>
                    <a:pt x="9598" y="31811"/>
                  </a:lnTo>
                  <a:lnTo>
                    <a:pt x="9718" y="33440"/>
                  </a:lnTo>
                  <a:lnTo>
                    <a:pt x="9899" y="35010"/>
                  </a:lnTo>
                  <a:lnTo>
                    <a:pt x="10141" y="36579"/>
                  </a:lnTo>
                  <a:lnTo>
                    <a:pt x="10443" y="38148"/>
                  </a:lnTo>
                  <a:lnTo>
                    <a:pt x="10865" y="39657"/>
                  </a:lnTo>
                  <a:lnTo>
                    <a:pt x="11288" y="41167"/>
                  </a:lnTo>
                  <a:lnTo>
                    <a:pt x="11831" y="42676"/>
                  </a:lnTo>
                  <a:lnTo>
                    <a:pt x="12435" y="44124"/>
                  </a:lnTo>
                  <a:lnTo>
                    <a:pt x="13038" y="45573"/>
                  </a:lnTo>
                  <a:lnTo>
                    <a:pt x="13763" y="46961"/>
                  </a:lnTo>
                  <a:lnTo>
                    <a:pt x="14547" y="48349"/>
                  </a:lnTo>
                  <a:lnTo>
                    <a:pt x="15392" y="49617"/>
                  </a:lnTo>
                  <a:lnTo>
                    <a:pt x="16298" y="50945"/>
                  </a:lnTo>
                  <a:lnTo>
                    <a:pt x="17263" y="52152"/>
                  </a:lnTo>
                  <a:lnTo>
                    <a:pt x="18290" y="53359"/>
                  </a:lnTo>
                  <a:lnTo>
                    <a:pt x="19376" y="54446"/>
                  </a:lnTo>
                  <a:lnTo>
                    <a:pt x="20463" y="55532"/>
                  </a:lnTo>
                  <a:lnTo>
                    <a:pt x="21670" y="56559"/>
                  </a:lnTo>
                  <a:lnTo>
                    <a:pt x="22937" y="57524"/>
                  </a:lnTo>
                  <a:lnTo>
                    <a:pt x="24205" y="58430"/>
                  </a:lnTo>
                  <a:lnTo>
                    <a:pt x="25593" y="59275"/>
                  </a:lnTo>
                  <a:lnTo>
                    <a:pt x="26982" y="60060"/>
                  </a:lnTo>
                  <a:lnTo>
                    <a:pt x="28430" y="60784"/>
                  </a:lnTo>
                  <a:lnTo>
                    <a:pt x="29939" y="61388"/>
                  </a:lnTo>
                  <a:lnTo>
                    <a:pt x="31509" y="61931"/>
                  </a:lnTo>
                  <a:lnTo>
                    <a:pt x="33138" y="62414"/>
                  </a:lnTo>
                  <a:lnTo>
                    <a:pt x="34768" y="62836"/>
                  </a:lnTo>
                  <a:lnTo>
                    <a:pt x="36519" y="63138"/>
                  </a:lnTo>
                  <a:lnTo>
                    <a:pt x="38269" y="63379"/>
                  </a:lnTo>
                  <a:lnTo>
                    <a:pt x="40080" y="63500"/>
                  </a:lnTo>
                  <a:lnTo>
                    <a:pt x="41891" y="63561"/>
                  </a:lnTo>
                  <a:lnTo>
                    <a:pt x="41891" y="63561"/>
                  </a:lnTo>
                  <a:lnTo>
                    <a:pt x="43943" y="63500"/>
                  </a:lnTo>
                  <a:lnTo>
                    <a:pt x="45814" y="63379"/>
                  </a:lnTo>
                  <a:lnTo>
                    <a:pt x="47444" y="63138"/>
                  </a:lnTo>
                  <a:lnTo>
                    <a:pt x="48893" y="62836"/>
                  </a:lnTo>
                  <a:lnTo>
                    <a:pt x="50160" y="62474"/>
                  </a:lnTo>
                  <a:lnTo>
                    <a:pt x="51368" y="62112"/>
                  </a:lnTo>
                  <a:lnTo>
                    <a:pt x="53480" y="61267"/>
                  </a:lnTo>
                  <a:lnTo>
                    <a:pt x="53480" y="46599"/>
                  </a:lnTo>
                  <a:lnTo>
                    <a:pt x="39718" y="47323"/>
                  </a:lnTo>
                  <a:lnTo>
                    <a:pt x="47022" y="43400"/>
                  </a:lnTo>
                  <a:lnTo>
                    <a:pt x="66398" y="43400"/>
                  </a:lnTo>
                  <a:lnTo>
                    <a:pt x="63983" y="45633"/>
                  </a:lnTo>
                  <a:lnTo>
                    <a:pt x="63983" y="45633"/>
                  </a:lnTo>
                  <a:lnTo>
                    <a:pt x="63621" y="45995"/>
                  </a:lnTo>
                  <a:lnTo>
                    <a:pt x="63379" y="46297"/>
                  </a:lnTo>
                  <a:lnTo>
                    <a:pt x="63198" y="46659"/>
                  </a:lnTo>
                  <a:lnTo>
                    <a:pt x="63078" y="47142"/>
                  </a:lnTo>
                  <a:lnTo>
                    <a:pt x="63078" y="47142"/>
                  </a:lnTo>
                  <a:lnTo>
                    <a:pt x="62957" y="49255"/>
                  </a:lnTo>
                  <a:lnTo>
                    <a:pt x="62897" y="51488"/>
                  </a:lnTo>
                  <a:lnTo>
                    <a:pt x="62897" y="62655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8" name="Shape 158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extrusionOk="0">
                  <a:moveTo>
                    <a:pt x="6882" y="1"/>
                  </a:moveTo>
                  <a:lnTo>
                    <a:pt x="1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49A942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59" name="Shape 159"/>
            <p:cNvSpPr/>
            <p:nvPr/>
          </p:nvSpPr>
          <p:spPr>
            <a:xfrm>
              <a:off x="5530275" y="1685725"/>
              <a:ext cx="602125" cy="1614700"/>
            </a:xfrm>
            <a:custGeom>
              <a:avLst/>
              <a:gdLst/>
              <a:ahLst/>
              <a:cxnLst/>
              <a:rect l="0" t="0" r="0" b="0"/>
              <a:pathLst>
                <a:path w="24085" h="64588" fill="none" extrusionOk="0">
                  <a:moveTo>
                    <a:pt x="19437" y="62112"/>
                  </a:moveTo>
                  <a:lnTo>
                    <a:pt x="19437" y="62112"/>
                  </a:lnTo>
                  <a:lnTo>
                    <a:pt x="18411" y="61991"/>
                  </a:lnTo>
                  <a:lnTo>
                    <a:pt x="17566" y="61810"/>
                  </a:lnTo>
                  <a:lnTo>
                    <a:pt x="17264" y="61690"/>
                  </a:lnTo>
                  <a:lnTo>
                    <a:pt x="16962" y="61569"/>
                  </a:lnTo>
                  <a:lnTo>
                    <a:pt x="16660" y="61388"/>
                  </a:lnTo>
                  <a:lnTo>
                    <a:pt x="16479" y="61146"/>
                  </a:lnTo>
                  <a:lnTo>
                    <a:pt x="16298" y="60905"/>
                  </a:lnTo>
                  <a:lnTo>
                    <a:pt x="16117" y="60603"/>
                  </a:lnTo>
                  <a:lnTo>
                    <a:pt x="15997" y="60301"/>
                  </a:lnTo>
                  <a:lnTo>
                    <a:pt x="15936" y="59879"/>
                  </a:lnTo>
                  <a:lnTo>
                    <a:pt x="15815" y="58973"/>
                  </a:lnTo>
                  <a:lnTo>
                    <a:pt x="15755" y="57766"/>
                  </a:lnTo>
                  <a:lnTo>
                    <a:pt x="15755" y="56740"/>
                  </a:lnTo>
                  <a:lnTo>
                    <a:pt x="15755" y="5976"/>
                  </a:lnTo>
                  <a:lnTo>
                    <a:pt x="15755" y="5976"/>
                  </a:lnTo>
                  <a:lnTo>
                    <a:pt x="15815" y="5433"/>
                  </a:lnTo>
                  <a:lnTo>
                    <a:pt x="15815" y="5433"/>
                  </a:lnTo>
                  <a:lnTo>
                    <a:pt x="15997" y="4347"/>
                  </a:lnTo>
                  <a:lnTo>
                    <a:pt x="16238" y="3441"/>
                  </a:lnTo>
                  <a:lnTo>
                    <a:pt x="16540" y="2717"/>
                  </a:lnTo>
                  <a:lnTo>
                    <a:pt x="16962" y="2113"/>
                  </a:lnTo>
                  <a:lnTo>
                    <a:pt x="17506" y="1630"/>
                  </a:lnTo>
                  <a:lnTo>
                    <a:pt x="18170" y="1087"/>
                  </a:lnTo>
                  <a:lnTo>
                    <a:pt x="18954" y="604"/>
                  </a:lnTo>
                  <a:lnTo>
                    <a:pt x="19920" y="1"/>
                  </a:lnTo>
                  <a:lnTo>
                    <a:pt x="6882" y="1"/>
                  </a:lnTo>
                  <a:lnTo>
                    <a:pt x="1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3320"/>
                  </a:lnTo>
                  <a:lnTo>
                    <a:pt x="7003" y="56740"/>
                  </a:lnTo>
                  <a:lnTo>
                    <a:pt x="7003" y="59758"/>
                  </a:lnTo>
                  <a:lnTo>
                    <a:pt x="7003" y="59758"/>
                  </a:lnTo>
                  <a:lnTo>
                    <a:pt x="7003" y="60362"/>
                  </a:lnTo>
                  <a:lnTo>
                    <a:pt x="6942" y="60905"/>
                  </a:lnTo>
                  <a:lnTo>
                    <a:pt x="6761" y="61388"/>
                  </a:lnTo>
                  <a:lnTo>
                    <a:pt x="6580" y="61810"/>
                  </a:lnTo>
                  <a:lnTo>
                    <a:pt x="6218" y="62354"/>
                  </a:lnTo>
                  <a:lnTo>
                    <a:pt x="5795" y="62957"/>
                  </a:lnTo>
                  <a:lnTo>
                    <a:pt x="4528" y="64587"/>
                  </a:lnTo>
                  <a:lnTo>
                    <a:pt x="20705" y="64587"/>
                  </a:lnTo>
                  <a:lnTo>
                    <a:pt x="24085" y="62595"/>
                  </a:lnTo>
                  <a:lnTo>
                    <a:pt x="24085" y="62595"/>
                  </a:lnTo>
                  <a:lnTo>
                    <a:pt x="21731" y="62354"/>
                  </a:lnTo>
                  <a:lnTo>
                    <a:pt x="19437" y="6211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60" name="Shape 160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extrusionOk="0">
                  <a:moveTo>
                    <a:pt x="18230" y="3018"/>
                  </a:moveTo>
                  <a:lnTo>
                    <a:pt x="19135" y="3079"/>
                  </a:lnTo>
                  <a:lnTo>
                    <a:pt x="19980" y="3199"/>
                  </a:lnTo>
                  <a:lnTo>
                    <a:pt x="20886" y="3441"/>
                  </a:lnTo>
                  <a:lnTo>
                    <a:pt x="21671" y="3682"/>
                  </a:lnTo>
                  <a:lnTo>
                    <a:pt x="22455" y="4105"/>
                  </a:lnTo>
                  <a:lnTo>
                    <a:pt x="23180" y="4527"/>
                  </a:lnTo>
                  <a:lnTo>
                    <a:pt x="23904" y="5010"/>
                  </a:lnTo>
                  <a:lnTo>
                    <a:pt x="24568" y="5554"/>
                  </a:lnTo>
                  <a:lnTo>
                    <a:pt x="25111" y="6097"/>
                  </a:lnTo>
                  <a:lnTo>
                    <a:pt x="25654" y="6761"/>
                  </a:lnTo>
                  <a:lnTo>
                    <a:pt x="26077" y="7364"/>
                  </a:lnTo>
                  <a:lnTo>
                    <a:pt x="26499" y="8028"/>
                  </a:lnTo>
                  <a:lnTo>
                    <a:pt x="26801" y="8753"/>
                  </a:lnTo>
                  <a:lnTo>
                    <a:pt x="26982" y="9417"/>
                  </a:lnTo>
                  <a:lnTo>
                    <a:pt x="27163" y="10141"/>
                  </a:lnTo>
                  <a:lnTo>
                    <a:pt x="27224" y="10805"/>
                  </a:lnTo>
                  <a:lnTo>
                    <a:pt x="27163" y="11228"/>
                  </a:lnTo>
                  <a:lnTo>
                    <a:pt x="27043" y="11650"/>
                  </a:lnTo>
                  <a:lnTo>
                    <a:pt x="26801" y="11952"/>
                  </a:lnTo>
                  <a:lnTo>
                    <a:pt x="26499" y="12254"/>
                  </a:lnTo>
                  <a:lnTo>
                    <a:pt x="26137" y="12555"/>
                  </a:lnTo>
                  <a:lnTo>
                    <a:pt x="25715" y="12797"/>
                  </a:lnTo>
                  <a:lnTo>
                    <a:pt x="24568" y="13280"/>
                  </a:lnTo>
                  <a:lnTo>
                    <a:pt x="8089" y="20402"/>
                  </a:lnTo>
                  <a:lnTo>
                    <a:pt x="7908" y="17988"/>
                  </a:lnTo>
                  <a:lnTo>
                    <a:pt x="7787" y="16781"/>
                  </a:lnTo>
                  <a:lnTo>
                    <a:pt x="7787" y="15634"/>
                  </a:lnTo>
                  <a:lnTo>
                    <a:pt x="7787" y="14728"/>
                  </a:lnTo>
                  <a:lnTo>
                    <a:pt x="7848" y="13883"/>
                  </a:lnTo>
                  <a:lnTo>
                    <a:pt x="7969" y="13038"/>
                  </a:lnTo>
                  <a:lnTo>
                    <a:pt x="8089" y="12254"/>
                  </a:lnTo>
                  <a:lnTo>
                    <a:pt x="8270" y="11529"/>
                  </a:lnTo>
                  <a:lnTo>
                    <a:pt x="8451" y="10805"/>
                  </a:lnTo>
                  <a:lnTo>
                    <a:pt x="8633" y="10141"/>
                  </a:lnTo>
                  <a:lnTo>
                    <a:pt x="8934" y="9537"/>
                  </a:lnTo>
                  <a:lnTo>
                    <a:pt x="9176" y="8934"/>
                  </a:lnTo>
                  <a:lnTo>
                    <a:pt x="9478" y="8330"/>
                  </a:lnTo>
                  <a:lnTo>
                    <a:pt x="10142" y="7304"/>
                  </a:lnTo>
                  <a:lnTo>
                    <a:pt x="10866" y="6399"/>
                  </a:lnTo>
                  <a:lnTo>
                    <a:pt x="11651" y="5614"/>
                  </a:lnTo>
                  <a:lnTo>
                    <a:pt x="12435" y="4950"/>
                  </a:lnTo>
                  <a:lnTo>
                    <a:pt x="13341" y="4407"/>
                  </a:lnTo>
                  <a:lnTo>
                    <a:pt x="14186" y="3984"/>
                  </a:lnTo>
                  <a:lnTo>
                    <a:pt x="15031" y="3622"/>
                  </a:lnTo>
                  <a:lnTo>
                    <a:pt x="15876" y="3320"/>
                  </a:lnTo>
                  <a:lnTo>
                    <a:pt x="16721" y="3139"/>
                  </a:lnTo>
                  <a:lnTo>
                    <a:pt x="17506" y="3018"/>
                  </a:lnTo>
                  <a:close/>
                  <a:moveTo>
                    <a:pt x="20765" y="0"/>
                  </a:moveTo>
                  <a:lnTo>
                    <a:pt x="19860" y="61"/>
                  </a:lnTo>
                  <a:lnTo>
                    <a:pt x="18954" y="121"/>
                  </a:lnTo>
                  <a:lnTo>
                    <a:pt x="18109" y="181"/>
                  </a:lnTo>
                  <a:lnTo>
                    <a:pt x="17204" y="363"/>
                  </a:lnTo>
                  <a:lnTo>
                    <a:pt x="16298" y="544"/>
                  </a:lnTo>
                  <a:lnTo>
                    <a:pt x="15393" y="725"/>
                  </a:lnTo>
                  <a:lnTo>
                    <a:pt x="14488" y="1026"/>
                  </a:lnTo>
                  <a:lnTo>
                    <a:pt x="13582" y="1328"/>
                  </a:lnTo>
                  <a:lnTo>
                    <a:pt x="12677" y="1630"/>
                  </a:lnTo>
                  <a:lnTo>
                    <a:pt x="11771" y="2053"/>
                  </a:lnTo>
                  <a:lnTo>
                    <a:pt x="10926" y="2475"/>
                  </a:lnTo>
                  <a:lnTo>
                    <a:pt x="10081" y="2958"/>
                  </a:lnTo>
                  <a:lnTo>
                    <a:pt x="9236" y="3441"/>
                  </a:lnTo>
                  <a:lnTo>
                    <a:pt x="8451" y="3984"/>
                  </a:lnTo>
                  <a:lnTo>
                    <a:pt x="7667" y="4588"/>
                  </a:lnTo>
                  <a:lnTo>
                    <a:pt x="6882" y="5191"/>
                  </a:lnTo>
                  <a:lnTo>
                    <a:pt x="6158" y="5916"/>
                  </a:lnTo>
                  <a:lnTo>
                    <a:pt x="5433" y="6580"/>
                  </a:lnTo>
                  <a:lnTo>
                    <a:pt x="4769" y="7364"/>
                  </a:lnTo>
                  <a:lnTo>
                    <a:pt x="4105" y="8149"/>
                  </a:lnTo>
                  <a:lnTo>
                    <a:pt x="3502" y="8994"/>
                  </a:lnTo>
                  <a:lnTo>
                    <a:pt x="2898" y="9900"/>
                  </a:lnTo>
                  <a:lnTo>
                    <a:pt x="2415" y="10805"/>
                  </a:lnTo>
                  <a:lnTo>
                    <a:pt x="1932" y="11771"/>
                  </a:lnTo>
                  <a:lnTo>
                    <a:pt x="1510" y="12737"/>
                  </a:lnTo>
                  <a:lnTo>
                    <a:pt x="1087" y="13823"/>
                  </a:lnTo>
                  <a:lnTo>
                    <a:pt x="786" y="14910"/>
                  </a:lnTo>
                  <a:lnTo>
                    <a:pt x="484" y="15996"/>
                  </a:lnTo>
                  <a:lnTo>
                    <a:pt x="303" y="17203"/>
                  </a:lnTo>
                  <a:lnTo>
                    <a:pt x="122" y="18411"/>
                  </a:lnTo>
                  <a:lnTo>
                    <a:pt x="1" y="19678"/>
                  </a:lnTo>
                  <a:lnTo>
                    <a:pt x="1" y="20946"/>
                  </a:lnTo>
                  <a:lnTo>
                    <a:pt x="1" y="22274"/>
                  </a:lnTo>
                  <a:lnTo>
                    <a:pt x="122" y="23541"/>
                  </a:lnTo>
                  <a:lnTo>
                    <a:pt x="303" y="24869"/>
                  </a:lnTo>
                  <a:lnTo>
                    <a:pt x="544" y="26197"/>
                  </a:lnTo>
                  <a:lnTo>
                    <a:pt x="846" y="27525"/>
                  </a:lnTo>
                  <a:lnTo>
                    <a:pt x="1208" y="28793"/>
                  </a:lnTo>
                  <a:lnTo>
                    <a:pt x="1691" y="30121"/>
                  </a:lnTo>
                  <a:lnTo>
                    <a:pt x="2174" y="31388"/>
                  </a:lnTo>
                  <a:lnTo>
                    <a:pt x="2778" y="32656"/>
                  </a:lnTo>
                  <a:lnTo>
                    <a:pt x="3502" y="33863"/>
                  </a:lnTo>
                  <a:lnTo>
                    <a:pt x="4226" y="35010"/>
                  </a:lnTo>
                  <a:lnTo>
                    <a:pt x="5071" y="36157"/>
                  </a:lnTo>
                  <a:lnTo>
                    <a:pt x="5977" y="37243"/>
                  </a:lnTo>
                  <a:lnTo>
                    <a:pt x="7003" y="38269"/>
                  </a:lnTo>
                  <a:lnTo>
                    <a:pt x="8089" y="39235"/>
                  </a:lnTo>
                  <a:lnTo>
                    <a:pt x="9236" y="40080"/>
                  </a:lnTo>
                  <a:lnTo>
                    <a:pt x="10081" y="40684"/>
                  </a:lnTo>
                  <a:lnTo>
                    <a:pt x="10987" y="41227"/>
                  </a:lnTo>
                  <a:lnTo>
                    <a:pt x="11832" y="41650"/>
                  </a:lnTo>
                  <a:lnTo>
                    <a:pt x="12677" y="42072"/>
                  </a:lnTo>
                  <a:lnTo>
                    <a:pt x="13522" y="42374"/>
                  </a:lnTo>
                  <a:lnTo>
                    <a:pt x="14307" y="42676"/>
                  </a:lnTo>
                  <a:lnTo>
                    <a:pt x="15152" y="42917"/>
                  </a:lnTo>
                  <a:lnTo>
                    <a:pt x="15936" y="43098"/>
                  </a:lnTo>
                  <a:lnTo>
                    <a:pt x="17445" y="43400"/>
                  </a:lnTo>
                  <a:lnTo>
                    <a:pt x="18834" y="43581"/>
                  </a:lnTo>
                  <a:lnTo>
                    <a:pt x="20162" y="43641"/>
                  </a:lnTo>
                  <a:lnTo>
                    <a:pt x="22335" y="43641"/>
                  </a:lnTo>
                  <a:lnTo>
                    <a:pt x="23421" y="43581"/>
                  </a:lnTo>
                  <a:lnTo>
                    <a:pt x="24508" y="43460"/>
                  </a:lnTo>
                  <a:lnTo>
                    <a:pt x="25594" y="43279"/>
                  </a:lnTo>
                  <a:lnTo>
                    <a:pt x="26741" y="43038"/>
                  </a:lnTo>
                  <a:lnTo>
                    <a:pt x="27827" y="42736"/>
                  </a:lnTo>
                  <a:lnTo>
                    <a:pt x="28974" y="42374"/>
                  </a:lnTo>
                  <a:lnTo>
                    <a:pt x="30121" y="41891"/>
                  </a:lnTo>
                  <a:lnTo>
                    <a:pt x="30845" y="41529"/>
                  </a:lnTo>
                  <a:lnTo>
                    <a:pt x="31570" y="41106"/>
                  </a:lnTo>
                  <a:lnTo>
                    <a:pt x="33079" y="40261"/>
                  </a:lnTo>
                  <a:lnTo>
                    <a:pt x="37908" y="35734"/>
                  </a:lnTo>
                  <a:lnTo>
                    <a:pt x="35493" y="36881"/>
                  </a:lnTo>
                  <a:lnTo>
                    <a:pt x="34286" y="37424"/>
                  </a:lnTo>
                  <a:lnTo>
                    <a:pt x="32958" y="37907"/>
                  </a:lnTo>
                  <a:lnTo>
                    <a:pt x="31570" y="38330"/>
                  </a:lnTo>
                  <a:lnTo>
                    <a:pt x="30061" y="38632"/>
                  </a:lnTo>
                  <a:lnTo>
                    <a:pt x="28491" y="38813"/>
                  </a:lnTo>
                  <a:lnTo>
                    <a:pt x="27707" y="38873"/>
                  </a:lnTo>
                  <a:lnTo>
                    <a:pt x="26801" y="38933"/>
                  </a:lnTo>
                  <a:lnTo>
                    <a:pt x="26017" y="38873"/>
                  </a:lnTo>
                  <a:lnTo>
                    <a:pt x="25232" y="38813"/>
                  </a:lnTo>
                  <a:lnTo>
                    <a:pt x="24447" y="38752"/>
                  </a:lnTo>
                  <a:lnTo>
                    <a:pt x="23662" y="38632"/>
                  </a:lnTo>
                  <a:lnTo>
                    <a:pt x="22878" y="38450"/>
                  </a:lnTo>
                  <a:lnTo>
                    <a:pt x="22093" y="38209"/>
                  </a:lnTo>
                  <a:lnTo>
                    <a:pt x="21369" y="37968"/>
                  </a:lnTo>
                  <a:lnTo>
                    <a:pt x="20584" y="37666"/>
                  </a:lnTo>
                  <a:lnTo>
                    <a:pt x="19860" y="37364"/>
                  </a:lnTo>
                  <a:lnTo>
                    <a:pt x="19135" y="37002"/>
                  </a:lnTo>
                  <a:lnTo>
                    <a:pt x="18411" y="36640"/>
                  </a:lnTo>
                  <a:lnTo>
                    <a:pt x="17747" y="36157"/>
                  </a:lnTo>
                  <a:lnTo>
                    <a:pt x="17023" y="35734"/>
                  </a:lnTo>
                  <a:lnTo>
                    <a:pt x="16359" y="35251"/>
                  </a:lnTo>
                  <a:lnTo>
                    <a:pt x="15755" y="34708"/>
                  </a:lnTo>
                  <a:lnTo>
                    <a:pt x="15091" y="34104"/>
                  </a:lnTo>
                  <a:lnTo>
                    <a:pt x="14488" y="33501"/>
                  </a:lnTo>
                  <a:lnTo>
                    <a:pt x="13884" y="32897"/>
                  </a:lnTo>
                  <a:lnTo>
                    <a:pt x="13341" y="32233"/>
                  </a:lnTo>
                  <a:lnTo>
                    <a:pt x="12797" y="31509"/>
                  </a:lnTo>
                  <a:lnTo>
                    <a:pt x="12254" y="30785"/>
                  </a:lnTo>
                  <a:lnTo>
                    <a:pt x="11771" y="30000"/>
                  </a:lnTo>
                  <a:lnTo>
                    <a:pt x="11288" y="29215"/>
                  </a:lnTo>
                  <a:lnTo>
                    <a:pt x="10806" y="28370"/>
                  </a:lnTo>
                  <a:lnTo>
                    <a:pt x="10383" y="27525"/>
                  </a:lnTo>
                  <a:lnTo>
                    <a:pt x="9960" y="26620"/>
                  </a:lnTo>
                  <a:lnTo>
                    <a:pt x="9598" y="25714"/>
                  </a:lnTo>
                  <a:lnTo>
                    <a:pt x="9236" y="24748"/>
                  </a:lnTo>
                  <a:lnTo>
                    <a:pt x="8934" y="23783"/>
                  </a:lnTo>
                  <a:lnTo>
                    <a:pt x="8633" y="22817"/>
                  </a:lnTo>
                  <a:lnTo>
                    <a:pt x="8391" y="21730"/>
                  </a:lnTo>
                  <a:lnTo>
                    <a:pt x="8150" y="20704"/>
                  </a:lnTo>
                  <a:lnTo>
                    <a:pt x="15152" y="20161"/>
                  </a:lnTo>
                  <a:lnTo>
                    <a:pt x="36459" y="11529"/>
                  </a:lnTo>
                  <a:lnTo>
                    <a:pt x="36157" y="10684"/>
                  </a:lnTo>
                  <a:lnTo>
                    <a:pt x="35795" y="9658"/>
                  </a:lnTo>
                  <a:lnTo>
                    <a:pt x="35373" y="8572"/>
                  </a:lnTo>
                  <a:lnTo>
                    <a:pt x="34709" y="7364"/>
                  </a:lnTo>
                  <a:lnTo>
                    <a:pt x="34346" y="6761"/>
                  </a:lnTo>
                  <a:lnTo>
                    <a:pt x="33924" y="6157"/>
                  </a:lnTo>
                  <a:lnTo>
                    <a:pt x="33441" y="5554"/>
                  </a:lnTo>
                  <a:lnTo>
                    <a:pt x="32898" y="4950"/>
                  </a:lnTo>
                  <a:lnTo>
                    <a:pt x="32294" y="4286"/>
                  </a:lnTo>
                  <a:lnTo>
                    <a:pt x="31630" y="3682"/>
                  </a:lnTo>
                  <a:lnTo>
                    <a:pt x="30906" y="3139"/>
                  </a:lnTo>
                  <a:lnTo>
                    <a:pt x="30121" y="2536"/>
                  </a:lnTo>
                  <a:lnTo>
                    <a:pt x="29035" y="1932"/>
                  </a:lnTo>
                  <a:lnTo>
                    <a:pt x="27948" y="1449"/>
                  </a:lnTo>
                  <a:lnTo>
                    <a:pt x="26801" y="966"/>
                  </a:lnTo>
                  <a:lnTo>
                    <a:pt x="25654" y="664"/>
                  </a:lnTo>
                  <a:lnTo>
                    <a:pt x="24447" y="363"/>
                  </a:lnTo>
                  <a:lnTo>
                    <a:pt x="23240" y="181"/>
                  </a:lnTo>
                  <a:lnTo>
                    <a:pt x="21972" y="61"/>
                  </a:lnTo>
                  <a:lnTo>
                    <a:pt x="20765" y="0"/>
                  </a:lnTo>
                  <a:close/>
                </a:path>
              </a:pathLst>
            </a:custGeom>
            <a:solidFill>
              <a:srgbClr val="ED174F"/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61" name="Shape 161"/>
            <p:cNvSpPr/>
            <p:nvPr/>
          </p:nvSpPr>
          <p:spPr>
            <a:xfrm>
              <a:off x="6343650" y="2328575"/>
              <a:ext cx="485925" cy="434625"/>
            </a:xfrm>
            <a:custGeom>
              <a:avLst/>
              <a:gdLst/>
              <a:ahLst/>
              <a:cxnLst/>
              <a:rect l="0" t="0" r="0" b="0"/>
              <a:pathLst>
                <a:path w="19437" h="17385" fill="none" extrusionOk="0">
                  <a:moveTo>
                    <a:pt x="16781" y="10262"/>
                  </a:moveTo>
                  <a:lnTo>
                    <a:pt x="16781" y="10262"/>
                  </a:lnTo>
                  <a:lnTo>
                    <a:pt x="17928" y="9779"/>
                  </a:lnTo>
                  <a:lnTo>
                    <a:pt x="18350" y="9537"/>
                  </a:lnTo>
                  <a:lnTo>
                    <a:pt x="18712" y="9236"/>
                  </a:lnTo>
                  <a:lnTo>
                    <a:pt x="19014" y="8934"/>
                  </a:lnTo>
                  <a:lnTo>
                    <a:pt x="19256" y="8632"/>
                  </a:lnTo>
                  <a:lnTo>
                    <a:pt x="19376" y="8210"/>
                  </a:lnTo>
                  <a:lnTo>
                    <a:pt x="19437" y="7787"/>
                  </a:lnTo>
                  <a:lnTo>
                    <a:pt x="19437" y="7787"/>
                  </a:lnTo>
                  <a:lnTo>
                    <a:pt x="19376" y="7123"/>
                  </a:lnTo>
                  <a:lnTo>
                    <a:pt x="19195" y="6399"/>
                  </a:lnTo>
                  <a:lnTo>
                    <a:pt x="19014" y="5735"/>
                  </a:lnTo>
                  <a:lnTo>
                    <a:pt x="18712" y="5010"/>
                  </a:lnTo>
                  <a:lnTo>
                    <a:pt x="18290" y="4346"/>
                  </a:lnTo>
                  <a:lnTo>
                    <a:pt x="17867" y="3743"/>
                  </a:lnTo>
                  <a:lnTo>
                    <a:pt x="17324" y="3079"/>
                  </a:lnTo>
                  <a:lnTo>
                    <a:pt x="16781" y="2536"/>
                  </a:lnTo>
                  <a:lnTo>
                    <a:pt x="16117" y="1992"/>
                  </a:lnTo>
                  <a:lnTo>
                    <a:pt x="15393" y="1509"/>
                  </a:lnTo>
                  <a:lnTo>
                    <a:pt x="14668" y="1087"/>
                  </a:lnTo>
                  <a:lnTo>
                    <a:pt x="13884" y="664"/>
                  </a:lnTo>
                  <a:lnTo>
                    <a:pt x="13099" y="423"/>
                  </a:lnTo>
                  <a:lnTo>
                    <a:pt x="12193" y="181"/>
                  </a:lnTo>
                  <a:lnTo>
                    <a:pt x="11348" y="61"/>
                  </a:lnTo>
                  <a:lnTo>
                    <a:pt x="10443" y="0"/>
                  </a:lnTo>
                  <a:lnTo>
                    <a:pt x="10443" y="0"/>
                  </a:lnTo>
                  <a:lnTo>
                    <a:pt x="9719" y="0"/>
                  </a:lnTo>
                  <a:lnTo>
                    <a:pt x="8934" y="121"/>
                  </a:lnTo>
                  <a:lnTo>
                    <a:pt x="8089" y="302"/>
                  </a:lnTo>
                  <a:lnTo>
                    <a:pt x="7244" y="604"/>
                  </a:lnTo>
                  <a:lnTo>
                    <a:pt x="6399" y="966"/>
                  </a:lnTo>
                  <a:lnTo>
                    <a:pt x="5554" y="1389"/>
                  </a:lnTo>
                  <a:lnTo>
                    <a:pt x="4648" y="1932"/>
                  </a:lnTo>
                  <a:lnTo>
                    <a:pt x="3864" y="2596"/>
                  </a:lnTo>
                  <a:lnTo>
                    <a:pt x="3079" y="3381"/>
                  </a:lnTo>
                  <a:lnTo>
                    <a:pt x="2355" y="4286"/>
                  </a:lnTo>
                  <a:lnTo>
                    <a:pt x="1691" y="5312"/>
                  </a:lnTo>
                  <a:lnTo>
                    <a:pt x="1389" y="5916"/>
                  </a:lnTo>
                  <a:lnTo>
                    <a:pt x="1147" y="6519"/>
                  </a:lnTo>
                  <a:lnTo>
                    <a:pt x="846" y="7123"/>
                  </a:lnTo>
                  <a:lnTo>
                    <a:pt x="664" y="7787"/>
                  </a:lnTo>
                  <a:lnTo>
                    <a:pt x="483" y="8511"/>
                  </a:lnTo>
                  <a:lnTo>
                    <a:pt x="302" y="9236"/>
                  </a:lnTo>
                  <a:lnTo>
                    <a:pt x="182" y="10020"/>
                  </a:lnTo>
                  <a:lnTo>
                    <a:pt x="61" y="10865"/>
                  </a:lnTo>
                  <a:lnTo>
                    <a:pt x="0" y="11710"/>
                  </a:lnTo>
                  <a:lnTo>
                    <a:pt x="0" y="12616"/>
                  </a:lnTo>
                  <a:lnTo>
                    <a:pt x="0" y="12616"/>
                  </a:lnTo>
                  <a:lnTo>
                    <a:pt x="0" y="13763"/>
                  </a:lnTo>
                  <a:lnTo>
                    <a:pt x="121" y="14970"/>
                  </a:lnTo>
                  <a:lnTo>
                    <a:pt x="302" y="17384"/>
                  </a:lnTo>
                  <a:lnTo>
                    <a:pt x="16781" y="10262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62" name="Shape 162"/>
            <p:cNvSpPr/>
            <p:nvPr/>
          </p:nvSpPr>
          <p:spPr>
            <a:xfrm>
              <a:off x="6148975" y="2253125"/>
              <a:ext cx="947700" cy="1091050"/>
            </a:xfrm>
            <a:custGeom>
              <a:avLst/>
              <a:gdLst/>
              <a:ahLst/>
              <a:cxnLst/>
              <a:rect l="0" t="0" r="0" b="0"/>
              <a:pathLst>
                <a:path w="37908" h="43642" fill="none" extrusionOk="0">
                  <a:moveTo>
                    <a:pt x="33079" y="40261"/>
                  </a:moveTo>
                  <a:lnTo>
                    <a:pt x="33079" y="40261"/>
                  </a:lnTo>
                  <a:lnTo>
                    <a:pt x="31570" y="41106"/>
                  </a:lnTo>
                  <a:lnTo>
                    <a:pt x="30845" y="41529"/>
                  </a:lnTo>
                  <a:lnTo>
                    <a:pt x="30121" y="41891"/>
                  </a:lnTo>
                  <a:lnTo>
                    <a:pt x="30121" y="41891"/>
                  </a:lnTo>
                  <a:lnTo>
                    <a:pt x="28974" y="42374"/>
                  </a:lnTo>
                  <a:lnTo>
                    <a:pt x="27827" y="42736"/>
                  </a:lnTo>
                  <a:lnTo>
                    <a:pt x="26741" y="43038"/>
                  </a:lnTo>
                  <a:lnTo>
                    <a:pt x="25594" y="43279"/>
                  </a:lnTo>
                  <a:lnTo>
                    <a:pt x="24508" y="43460"/>
                  </a:lnTo>
                  <a:lnTo>
                    <a:pt x="23421" y="43581"/>
                  </a:lnTo>
                  <a:lnTo>
                    <a:pt x="22335" y="43641"/>
                  </a:lnTo>
                  <a:lnTo>
                    <a:pt x="21308" y="43641"/>
                  </a:lnTo>
                  <a:lnTo>
                    <a:pt x="21308" y="43641"/>
                  </a:lnTo>
                  <a:lnTo>
                    <a:pt x="20162" y="43641"/>
                  </a:lnTo>
                  <a:lnTo>
                    <a:pt x="18834" y="43581"/>
                  </a:lnTo>
                  <a:lnTo>
                    <a:pt x="17445" y="43400"/>
                  </a:lnTo>
                  <a:lnTo>
                    <a:pt x="15936" y="43098"/>
                  </a:lnTo>
                  <a:lnTo>
                    <a:pt x="15152" y="42917"/>
                  </a:lnTo>
                  <a:lnTo>
                    <a:pt x="14307" y="42676"/>
                  </a:lnTo>
                  <a:lnTo>
                    <a:pt x="13522" y="42374"/>
                  </a:lnTo>
                  <a:lnTo>
                    <a:pt x="12677" y="42072"/>
                  </a:lnTo>
                  <a:lnTo>
                    <a:pt x="11832" y="41650"/>
                  </a:lnTo>
                  <a:lnTo>
                    <a:pt x="10987" y="41227"/>
                  </a:lnTo>
                  <a:lnTo>
                    <a:pt x="10081" y="40684"/>
                  </a:lnTo>
                  <a:lnTo>
                    <a:pt x="9236" y="40080"/>
                  </a:lnTo>
                  <a:lnTo>
                    <a:pt x="9236" y="40080"/>
                  </a:lnTo>
                  <a:lnTo>
                    <a:pt x="8089" y="39235"/>
                  </a:lnTo>
                  <a:lnTo>
                    <a:pt x="7003" y="38269"/>
                  </a:lnTo>
                  <a:lnTo>
                    <a:pt x="5977" y="37243"/>
                  </a:lnTo>
                  <a:lnTo>
                    <a:pt x="5071" y="36157"/>
                  </a:lnTo>
                  <a:lnTo>
                    <a:pt x="4226" y="35010"/>
                  </a:lnTo>
                  <a:lnTo>
                    <a:pt x="3502" y="33863"/>
                  </a:lnTo>
                  <a:lnTo>
                    <a:pt x="2778" y="32656"/>
                  </a:lnTo>
                  <a:lnTo>
                    <a:pt x="2174" y="31388"/>
                  </a:lnTo>
                  <a:lnTo>
                    <a:pt x="1691" y="30121"/>
                  </a:lnTo>
                  <a:lnTo>
                    <a:pt x="1208" y="28793"/>
                  </a:lnTo>
                  <a:lnTo>
                    <a:pt x="846" y="27525"/>
                  </a:lnTo>
                  <a:lnTo>
                    <a:pt x="544" y="26197"/>
                  </a:lnTo>
                  <a:lnTo>
                    <a:pt x="303" y="24869"/>
                  </a:lnTo>
                  <a:lnTo>
                    <a:pt x="122" y="23541"/>
                  </a:lnTo>
                  <a:lnTo>
                    <a:pt x="1" y="22274"/>
                  </a:lnTo>
                  <a:lnTo>
                    <a:pt x="1" y="20946"/>
                  </a:lnTo>
                  <a:lnTo>
                    <a:pt x="1" y="20946"/>
                  </a:lnTo>
                  <a:lnTo>
                    <a:pt x="1" y="19678"/>
                  </a:lnTo>
                  <a:lnTo>
                    <a:pt x="122" y="18411"/>
                  </a:lnTo>
                  <a:lnTo>
                    <a:pt x="303" y="17203"/>
                  </a:lnTo>
                  <a:lnTo>
                    <a:pt x="484" y="15996"/>
                  </a:lnTo>
                  <a:lnTo>
                    <a:pt x="786" y="14910"/>
                  </a:lnTo>
                  <a:lnTo>
                    <a:pt x="1087" y="13823"/>
                  </a:lnTo>
                  <a:lnTo>
                    <a:pt x="1510" y="12737"/>
                  </a:lnTo>
                  <a:lnTo>
                    <a:pt x="1932" y="11771"/>
                  </a:lnTo>
                  <a:lnTo>
                    <a:pt x="2415" y="10805"/>
                  </a:lnTo>
                  <a:lnTo>
                    <a:pt x="2898" y="9900"/>
                  </a:lnTo>
                  <a:lnTo>
                    <a:pt x="3502" y="8994"/>
                  </a:lnTo>
                  <a:lnTo>
                    <a:pt x="4105" y="8149"/>
                  </a:lnTo>
                  <a:lnTo>
                    <a:pt x="4769" y="7364"/>
                  </a:lnTo>
                  <a:lnTo>
                    <a:pt x="5433" y="6580"/>
                  </a:lnTo>
                  <a:lnTo>
                    <a:pt x="6158" y="5916"/>
                  </a:lnTo>
                  <a:lnTo>
                    <a:pt x="6882" y="5191"/>
                  </a:lnTo>
                  <a:lnTo>
                    <a:pt x="7667" y="4588"/>
                  </a:lnTo>
                  <a:lnTo>
                    <a:pt x="8451" y="3984"/>
                  </a:lnTo>
                  <a:lnTo>
                    <a:pt x="9236" y="3441"/>
                  </a:lnTo>
                  <a:lnTo>
                    <a:pt x="10081" y="2958"/>
                  </a:lnTo>
                  <a:lnTo>
                    <a:pt x="10926" y="2475"/>
                  </a:lnTo>
                  <a:lnTo>
                    <a:pt x="11771" y="2053"/>
                  </a:lnTo>
                  <a:lnTo>
                    <a:pt x="12677" y="1630"/>
                  </a:lnTo>
                  <a:lnTo>
                    <a:pt x="13582" y="1328"/>
                  </a:lnTo>
                  <a:lnTo>
                    <a:pt x="14488" y="1026"/>
                  </a:lnTo>
                  <a:lnTo>
                    <a:pt x="15393" y="725"/>
                  </a:lnTo>
                  <a:lnTo>
                    <a:pt x="16298" y="544"/>
                  </a:lnTo>
                  <a:lnTo>
                    <a:pt x="17204" y="363"/>
                  </a:lnTo>
                  <a:lnTo>
                    <a:pt x="18109" y="181"/>
                  </a:lnTo>
                  <a:lnTo>
                    <a:pt x="18954" y="121"/>
                  </a:lnTo>
                  <a:lnTo>
                    <a:pt x="19860" y="61"/>
                  </a:lnTo>
                  <a:lnTo>
                    <a:pt x="20765" y="0"/>
                  </a:lnTo>
                  <a:lnTo>
                    <a:pt x="20765" y="0"/>
                  </a:lnTo>
                  <a:lnTo>
                    <a:pt x="21972" y="61"/>
                  </a:lnTo>
                  <a:lnTo>
                    <a:pt x="23240" y="181"/>
                  </a:lnTo>
                  <a:lnTo>
                    <a:pt x="24447" y="363"/>
                  </a:lnTo>
                  <a:lnTo>
                    <a:pt x="25654" y="664"/>
                  </a:lnTo>
                  <a:lnTo>
                    <a:pt x="26801" y="966"/>
                  </a:lnTo>
                  <a:lnTo>
                    <a:pt x="27948" y="1449"/>
                  </a:lnTo>
                  <a:lnTo>
                    <a:pt x="29035" y="1932"/>
                  </a:lnTo>
                  <a:lnTo>
                    <a:pt x="30121" y="2536"/>
                  </a:lnTo>
                  <a:lnTo>
                    <a:pt x="30121" y="2536"/>
                  </a:lnTo>
                  <a:lnTo>
                    <a:pt x="30906" y="3139"/>
                  </a:lnTo>
                  <a:lnTo>
                    <a:pt x="31630" y="3682"/>
                  </a:lnTo>
                  <a:lnTo>
                    <a:pt x="32294" y="4286"/>
                  </a:lnTo>
                  <a:lnTo>
                    <a:pt x="32898" y="4950"/>
                  </a:lnTo>
                  <a:lnTo>
                    <a:pt x="33441" y="5554"/>
                  </a:lnTo>
                  <a:lnTo>
                    <a:pt x="33924" y="6157"/>
                  </a:lnTo>
                  <a:lnTo>
                    <a:pt x="34346" y="6761"/>
                  </a:lnTo>
                  <a:lnTo>
                    <a:pt x="34709" y="7364"/>
                  </a:lnTo>
                  <a:lnTo>
                    <a:pt x="35373" y="8572"/>
                  </a:lnTo>
                  <a:lnTo>
                    <a:pt x="35795" y="9658"/>
                  </a:lnTo>
                  <a:lnTo>
                    <a:pt x="36157" y="10684"/>
                  </a:lnTo>
                  <a:lnTo>
                    <a:pt x="36459" y="11529"/>
                  </a:lnTo>
                  <a:lnTo>
                    <a:pt x="15152" y="20161"/>
                  </a:lnTo>
                  <a:lnTo>
                    <a:pt x="8150" y="20704"/>
                  </a:lnTo>
                  <a:lnTo>
                    <a:pt x="8150" y="20704"/>
                  </a:lnTo>
                  <a:lnTo>
                    <a:pt x="8391" y="21730"/>
                  </a:lnTo>
                  <a:lnTo>
                    <a:pt x="8633" y="22817"/>
                  </a:lnTo>
                  <a:lnTo>
                    <a:pt x="8934" y="23783"/>
                  </a:lnTo>
                  <a:lnTo>
                    <a:pt x="9236" y="24748"/>
                  </a:lnTo>
                  <a:lnTo>
                    <a:pt x="9598" y="25714"/>
                  </a:lnTo>
                  <a:lnTo>
                    <a:pt x="9960" y="26620"/>
                  </a:lnTo>
                  <a:lnTo>
                    <a:pt x="10383" y="27525"/>
                  </a:lnTo>
                  <a:lnTo>
                    <a:pt x="10806" y="28370"/>
                  </a:lnTo>
                  <a:lnTo>
                    <a:pt x="11288" y="29215"/>
                  </a:lnTo>
                  <a:lnTo>
                    <a:pt x="11771" y="30000"/>
                  </a:lnTo>
                  <a:lnTo>
                    <a:pt x="12254" y="30785"/>
                  </a:lnTo>
                  <a:lnTo>
                    <a:pt x="12797" y="31509"/>
                  </a:lnTo>
                  <a:lnTo>
                    <a:pt x="13341" y="32233"/>
                  </a:lnTo>
                  <a:lnTo>
                    <a:pt x="13884" y="32897"/>
                  </a:lnTo>
                  <a:lnTo>
                    <a:pt x="14488" y="33501"/>
                  </a:lnTo>
                  <a:lnTo>
                    <a:pt x="15091" y="34104"/>
                  </a:lnTo>
                  <a:lnTo>
                    <a:pt x="15755" y="34708"/>
                  </a:lnTo>
                  <a:lnTo>
                    <a:pt x="16359" y="35251"/>
                  </a:lnTo>
                  <a:lnTo>
                    <a:pt x="17023" y="35734"/>
                  </a:lnTo>
                  <a:lnTo>
                    <a:pt x="17747" y="36157"/>
                  </a:lnTo>
                  <a:lnTo>
                    <a:pt x="18411" y="36640"/>
                  </a:lnTo>
                  <a:lnTo>
                    <a:pt x="19135" y="37002"/>
                  </a:lnTo>
                  <a:lnTo>
                    <a:pt x="19860" y="37364"/>
                  </a:lnTo>
                  <a:lnTo>
                    <a:pt x="20584" y="37666"/>
                  </a:lnTo>
                  <a:lnTo>
                    <a:pt x="21369" y="37968"/>
                  </a:lnTo>
                  <a:lnTo>
                    <a:pt x="22093" y="38209"/>
                  </a:lnTo>
                  <a:lnTo>
                    <a:pt x="22878" y="38450"/>
                  </a:lnTo>
                  <a:lnTo>
                    <a:pt x="23662" y="38632"/>
                  </a:lnTo>
                  <a:lnTo>
                    <a:pt x="24447" y="38752"/>
                  </a:lnTo>
                  <a:lnTo>
                    <a:pt x="25232" y="38813"/>
                  </a:lnTo>
                  <a:lnTo>
                    <a:pt x="26017" y="38873"/>
                  </a:lnTo>
                  <a:lnTo>
                    <a:pt x="26801" y="38933"/>
                  </a:lnTo>
                  <a:lnTo>
                    <a:pt x="26801" y="38933"/>
                  </a:lnTo>
                  <a:lnTo>
                    <a:pt x="27707" y="38873"/>
                  </a:lnTo>
                  <a:lnTo>
                    <a:pt x="28491" y="38813"/>
                  </a:lnTo>
                  <a:lnTo>
                    <a:pt x="30061" y="38632"/>
                  </a:lnTo>
                  <a:lnTo>
                    <a:pt x="31570" y="38330"/>
                  </a:lnTo>
                  <a:lnTo>
                    <a:pt x="32958" y="37907"/>
                  </a:lnTo>
                  <a:lnTo>
                    <a:pt x="34286" y="37424"/>
                  </a:lnTo>
                  <a:lnTo>
                    <a:pt x="35493" y="36881"/>
                  </a:lnTo>
                  <a:lnTo>
                    <a:pt x="37908" y="35734"/>
                  </a:lnTo>
                  <a:lnTo>
                    <a:pt x="33079" y="40261"/>
                  </a:lnTo>
                </a:path>
              </a:pathLst>
            </a:custGeom>
            <a:noFill/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cxnSp>
        <p:nvCxnSpPr>
          <p:cNvPr id="163" name="Shape 163"/>
          <p:cNvCxnSpPr/>
          <p:nvPr/>
        </p:nvCxnSpPr>
        <p:spPr>
          <a:xfrm>
            <a:off x="457200" y="1175787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64" name="Shape 164"/>
          <p:cNvSpPr/>
          <p:nvPr/>
        </p:nvSpPr>
        <p:spPr>
          <a:xfrm>
            <a:off x="5791200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  <p:cxnSp>
        <p:nvCxnSpPr>
          <p:cNvPr id="165" name="Shape 165"/>
          <p:cNvCxnSpPr/>
          <p:nvPr/>
        </p:nvCxnSpPr>
        <p:spPr>
          <a:xfrm>
            <a:off x="457200" y="6324600"/>
            <a:ext cx="82296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parator (Blue)">
  <p:cSld name="Separator (Blue)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Shape 167"/>
          <p:cNvSpPr txBox="1">
            <a:spLocks noGrp="1"/>
          </p:cNvSpPr>
          <p:nvPr>
            <p:ph type="ctrTitle"/>
          </p:nvPr>
        </p:nvSpPr>
        <p:spPr>
          <a:xfrm>
            <a:off x="2871958" y="2286000"/>
            <a:ext cx="5586300" cy="109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subTitle" idx="1"/>
          </p:nvPr>
        </p:nvSpPr>
        <p:spPr>
          <a:xfrm>
            <a:off x="2871958" y="3352800"/>
            <a:ext cx="5586300" cy="1752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>
            <a:off x="2864216" y="3382298"/>
            <a:ext cx="62799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dash"/>
            <a:round/>
            <a:headEnd type="none" w="lg" len="lg"/>
            <a:tailEnd type="none" w="lg" len="lg"/>
          </a:ln>
        </p:spPr>
      </p:cxnSp>
      <p:grpSp>
        <p:nvGrpSpPr>
          <p:cNvPr id="170" name="Shape 170"/>
          <p:cNvGrpSpPr/>
          <p:nvPr/>
        </p:nvGrpSpPr>
        <p:grpSpPr>
          <a:xfrm>
            <a:off x="0" y="4361807"/>
            <a:ext cx="9144308" cy="2491988"/>
            <a:chOff x="17169" y="4853348"/>
            <a:chExt cx="10133320" cy="2766724"/>
          </a:xfrm>
        </p:grpSpPr>
        <p:sp>
          <p:nvSpPr>
            <p:cNvPr id="171" name="Shape 171"/>
            <p:cNvSpPr/>
            <p:nvPr/>
          </p:nvSpPr>
          <p:spPr>
            <a:xfrm>
              <a:off x="6455228" y="5793701"/>
              <a:ext cx="1601355" cy="1826370"/>
            </a:xfrm>
            <a:custGeom>
              <a:avLst/>
              <a:gdLst/>
              <a:ahLst/>
              <a:cxnLst/>
              <a:rect l="0" t="0" r="0" b="0"/>
              <a:pathLst>
                <a:path w="41967" h="47864" extrusionOk="0">
                  <a:moveTo>
                    <a:pt x="17507" y="3104"/>
                  </a:moveTo>
                  <a:lnTo>
                    <a:pt x="18252" y="3228"/>
                  </a:lnTo>
                  <a:lnTo>
                    <a:pt x="18873" y="3353"/>
                  </a:lnTo>
                  <a:lnTo>
                    <a:pt x="19556" y="3539"/>
                  </a:lnTo>
                  <a:lnTo>
                    <a:pt x="20177" y="3787"/>
                  </a:lnTo>
                  <a:lnTo>
                    <a:pt x="20797" y="4098"/>
                  </a:lnTo>
                  <a:lnTo>
                    <a:pt x="21356" y="4470"/>
                  </a:lnTo>
                  <a:lnTo>
                    <a:pt x="21915" y="4843"/>
                  </a:lnTo>
                  <a:lnTo>
                    <a:pt x="22474" y="5277"/>
                  </a:lnTo>
                  <a:lnTo>
                    <a:pt x="22970" y="5712"/>
                  </a:lnTo>
                  <a:lnTo>
                    <a:pt x="23467" y="6208"/>
                  </a:lnTo>
                  <a:lnTo>
                    <a:pt x="23963" y="6767"/>
                  </a:lnTo>
                  <a:lnTo>
                    <a:pt x="24833" y="7946"/>
                  </a:lnTo>
                  <a:lnTo>
                    <a:pt x="25640" y="9188"/>
                  </a:lnTo>
                  <a:lnTo>
                    <a:pt x="26322" y="10492"/>
                  </a:lnTo>
                  <a:lnTo>
                    <a:pt x="26943" y="11920"/>
                  </a:lnTo>
                  <a:lnTo>
                    <a:pt x="27440" y="13347"/>
                  </a:lnTo>
                  <a:lnTo>
                    <a:pt x="27874" y="14775"/>
                  </a:lnTo>
                  <a:lnTo>
                    <a:pt x="28185" y="16203"/>
                  </a:lnTo>
                  <a:lnTo>
                    <a:pt x="28433" y="17631"/>
                  </a:lnTo>
                  <a:lnTo>
                    <a:pt x="28557" y="18997"/>
                  </a:lnTo>
                  <a:lnTo>
                    <a:pt x="28619" y="20300"/>
                  </a:lnTo>
                  <a:lnTo>
                    <a:pt x="28619" y="20983"/>
                  </a:lnTo>
                  <a:lnTo>
                    <a:pt x="28557" y="21790"/>
                  </a:lnTo>
                  <a:lnTo>
                    <a:pt x="28433" y="22659"/>
                  </a:lnTo>
                  <a:lnTo>
                    <a:pt x="28247" y="23528"/>
                  </a:lnTo>
                  <a:lnTo>
                    <a:pt x="27937" y="24459"/>
                  </a:lnTo>
                  <a:lnTo>
                    <a:pt x="27564" y="25391"/>
                  </a:lnTo>
                  <a:lnTo>
                    <a:pt x="27254" y="25887"/>
                  </a:lnTo>
                  <a:lnTo>
                    <a:pt x="27005" y="26322"/>
                  </a:lnTo>
                  <a:lnTo>
                    <a:pt x="26633" y="26756"/>
                  </a:lnTo>
                  <a:lnTo>
                    <a:pt x="26260" y="27129"/>
                  </a:lnTo>
                  <a:lnTo>
                    <a:pt x="25640" y="27688"/>
                  </a:lnTo>
                  <a:lnTo>
                    <a:pt x="24957" y="28184"/>
                  </a:lnTo>
                  <a:lnTo>
                    <a:pt x="24212" y="28619"/>
                  </a:lnTo>
                  <a:lnTo>
                    <a:pt x="23405" y="28991"/>
                  </a:lnTo>
                  <a:lnTo>
                    <a:pt x="22536" y="29302"/>
                  </a:lnTo>
                  <a:lnTo>
                    <a:pt x="21667" y="29550"/>
                  </a:lnTo>
                  <a:lnTo>
                    <a:pt x="20797" y="29736"/>
                  </a:lnTo>
                  <a:lnTo>
                    <a:pt x="19183" y="29736"/>
                  </a:lnTo>
                  <a:lnTo>
                    <a:pt x="18438" y="29674"/>
                  </a:lnTo>
                  <a:lnTo>
                    <a:pt x="17756" y="29488"/>
                  </a:lnTo>
                  <a:lnTo>
                    <a:pt x="17073" y="29302"/>
                  </a:lnTo>
                  <a:lnTo>
                    <a:pt x="16452" y="29053"/>
                  </a:lnTo>
                  <a:lnTo>
                    <a:pt x="15831" y="28743"/>
                  </a:lnTo>
                  <a:lnTo>
                    <a:pt x="15272" y="28433"/>
                  </a:lnTo>
                  <a:lnTo>
                    <a:pt x="14652" y="28060"/>
                  </a:lnTo>
                  <a:lnTo>
                    <a:pt x="14155" y="27625"/>
                  </a:lnTo>
                  <a:lnTo>
                    <a:pt x="13596" y="27191"/>
                  </a:lnTo>
                  <a:lnTo>
                    <a:pt x="13162" y="26694"/>
                  </a:lnTo>
                  <a:lnTo>
                    <a:pt x="12665" y="26136"/>
                  </a:lnTo>
                  <a:lnTo>
                    <a:pt x="11796" y="25018"/>
                  </a:lnTo>
                  <a:lnTo>
                    <a:pt x="11051" y="23777"/>
                  </a:lnTo>
                  <a:lnTo>
                    <a:pt x="10368" y="22473"/>
                  </a:lnTo>
                  <a:lnTo>
                    <a:pt x="9809" y="21107"/>
                  </a:lnTo>
                  <a:lnTo>
                    <a:pt x="9313" y="19741"/>
                  </a:lnTo>
                  <a:lnTo>
                    <a:pt x="8878" y="18376"/>
                  </a:lnTo>
                  <a:lnTo>
                    <a:pt x="8568" y="16948"/>
                  </a:lnTo>
                  <a:lnTo>
                    <a:pt x="8382" y="15644"/>
                  </a:lnTo>
                  <a:lnTo>
                    <a:pt x="8257" y="14341"/>
                  </a:lnTo>
                  <a:lnTo>
                    <a:pt x="8195" y="13099"/>
                  </a:lnTo>
                  <a:lnTo>
                    <a:pt x="8257" y="12168"/>
                  </a:lnTo>
                  <a:lnTo>
                    <a:pt x="8320" y="11299"/>
                  </a:lnTo>
                  <a:lnTo>
                    <a:pt x="8444" y="10368"/>
                  </a:lnTo>
                  <a:lnTo>
                    <a:pt x="8630" y="9498"/>
                  </a:lnTo>
                  <a:lnTo>
                    <a:pt x="8940" y="8629"/>
                  </a:lnTo>
                  <a:lnTo>
                    <a:pt x="9251" y="7760"/>
                  </a:lnTo>
                  <a:lnTo>
                    <a:pt x="9747" y="6953"/>
                  </a:lnTo>
                  <a:lnTo>
                    <a:pt x="10244" y="6208"/>
                  </a:lnTo>
                  <a:lnTo>
                    <a:pt x="10865" y="5525"/>
                  </a:lnTo>
                  <a:lnTo>
                    <a:pt x="11548" y="4905"/>
                  </a:lnTo>
                  <a:lnTo>
                    <a:pt x="12355" y="4408"/>
                  </a:lnTo>
                  <a:lnTo>
                    <a:pt x="13162" y="3911"/>
                  </a:lnTo>
                  <a:lnTo>
                    <a:pt x="14093" y="3601"/>
                  </a:lnTo>
                  <a:lnTo>
                    <a:pt x="14962" y="3291"/>
                  </a:lnTo>
                  <a:lnTo>
                    <a:pt x="15893" y="3166"/>
                  </a:lnTo>
                  <a:lnTo>
                    <a:pt x="16824" y="3104"/>
                  </a:lnTo>
                  <a:close/>
                  <a:moveTo>
                    <a:pt x="22722" y="0"/>
                  </a:moveTo>
                  <a:lnTo>
                    <a:pt x="20735" y="62"/>
                  </a:lnTo>
                  <a:lnTo>
                    <a:pt x="18687" y="187"/>
                  </a:lnTo>
                  <a:lnTo>
                    <a:pt x="17631" y="311"/>
                  </a:lnTo>
                  <a:lnTo>
                    <a:pt x="16576" y="497"/>
                  </a:lnTo>
                  <a:lnTo>
                    <a:pt x="15521" y="683"/>
                  </a:lnTo>
                  <a:lnTo>
                    <a:pt x="14465" y="932"/>
                  </a:lnTo>
                  <a:lnTo>
                    <a:pt x="13348" y="1242"/>
                  </a:lnTo>
                  <a:lnTo>
                    <a:pt x="12293" y="1614"/>
                  </a:lnTo>
                  <a:lnTo>
                    <a:pt x="11175" y="1987"/>
                  </a:lnTo>
                  <a:lnTo>
                    <a:pt x="10120" y="2484"/>
                  </a:lnTo>
                  <a:lnTo>
                    <a:pt x="9064" y="3042"/>
                  </a:lnTo>
                  <a:lnTo>
                    <a:pt x="8009" y="3663"/>
                  </a:lnTo>
                  <a:lnTo>
                    <a:pt x="6954" y="4346"/>
                  </a:lnTo>
                  <a:lnTo>
                    <a:pt x="5961" y="5153"/>
                  </a:lnTo>
                  <a:lnTo>
                    <a:pt x="5216" y="5836"/>
                  </a:lnTo>
                  <a:lnTo>
                    <a:pt x="4533" y="6519"/>
                  </a:lnTo>
                  <a:lnTo>
                    <a:pt x="3912" y="7202"/>
                  </a:lnTo>
                  <a:lnTo>
                    <a:pt x="3353" y="7946"/>
                  </a:lnTo>
                  <a:lnTo>
                    <a:pt x="2795" y="8753"/>
                  </a:lnTo>
                  <a:lnTo>
                    <a:pt x="2298" y="9498"/>
                  </a:lnTo>
                  <a:lnTo>
                    <a:pt x="1863" y="10305"/>
                  </a:lnTo>
                  <a:lnTo>
                    <a:pt x="1429" y="11112"/>
                  </a:lnTo>
                  <a:lnTo>
                    <a:pt x="1118" y="11920"/>
                  </a:lnTo>
                  <a:lnTo>
                    <a:pt x="808" y="12727"/>
                  </a:lnTo>
                  <a:lnTo>
                    <a:pt x="560" y="13596"/>
                  </a:lnTo>
                  <a:lnTo>
                    <a:pt x="373" y="14403"/>
                  </a:lnTo>
                  <a:lnTo>
                    <a:pt x="187" y="15210"/>
                  </a:lnTo>
                  <a:lnTo>
                    <a:pt x="63" y="16079"/>
                  </a:lnTo>
                  <a:lnTo>
                    <a:pt x="1" y="16886"/>
                  </a:lnTo>
                  <a:lnTo>
                    <a:pt x="1" y="17693"/>
                  </a:lnTo>
                  <a:lnTo>
                    <a:pt x="63" y="19059"/>
                  </a:lnTo>
                  <a:lnTo>
                    <a:pt x="249" y="20424"/>
                  </a:lnTo>
                  <a:lnTo>
                    <a:pt x="560" y="21728"/>
                  </a:lnTo>
                  <a:lnTo>
                    <a:pt x="994" y="23094"/>
                  </a:lnTo>
                  <a:lnTo>
                    <a:pt x="1553" y="24335"/>
                  </a:lnTo>
                  <a:lnTo>
                    <a:pt x="2298" y="25577"/>
                  </a:lnTo>
                  <a:lnTo>
                    <a:pt x="3105" y="26694"/>
                  </a:lnTo>
                  <a:lnTo>
                    <a:pt x="4036" y="27750"/>
                  </a:lnTo>
                  <a:lnTo>
                    <a:pt x="5091" y="28743"/>
                  </a:lnTo>
                  <a:lnTo>
                    <a:pt x="5650" y="29240"/>
                  </a:lnTo>
                  <a:lnTo>
                    <a:pt x="6209" y="29674"/>
                  </a:lnTo>
                  <a:lnTo>
                    <a:pt x="6830" y="30047"/>
                  </a:lnTo>
                  <a:lnTo>
                    <a:pt x="7513" y="30419"/>
                  </a:lnTo>
                  <a:lnTo>
                    <a:pt x="8195" y="30792"/>
                  </a:lnTo>
                  <a:lnTo>
                    <a:pt x="8878" y="31102"/>
                  </a:lnTo>
                  <a:lnTo>
                    <a:pt x="9623" y="31412"/>
                  </a:lnTo>
                  <a:lnTo>
                    <a:pt x="10368" y="31661"/>
                  </a:lnTo>
                  <a:lnTo>
                    <a:pt x="11175" y="31847"/>
                  </a:lnTo>
                  <a:lnTo>
                    <a:pt x="11982" y="32033"/>
                  </a:lnTo>
                  <a:lnTo>
                    <a:pt x="12851" y="32219"/>
                  </a:lnTo>
                  <a:lnTo>
                    <a:pt x="13720" y="32281"/>
                  </a:lnTo>
                  <a:lnTo>
                    <a:pt x="14590" y="32343"/>
                  </a:lnTo>
                  <a:lnTo>
                    <a:pt x="15521" y="32406"/>
                  </a:lnTo>
                  <a:lnTo>
                    <a:pt x="16949" y="32343"/>
                  </a:lnTo>
                  <a:lnTo>
                    <a:pt x="18501" y="32219"/>
                  </a:lnTo>
                  <a:lnTo>
                    <a:pt x="18128" y="33026"/>
                  </a:lnTo>
                  <a:lnTo>
                    <a:pt x="17880" y="33833"/>
                  </a:lnTo>
                  <a:lnTo>
                    <a:pt x="17631" y="34765"/>
                  </a:lnTo>
                  <a:lnTo>
                    <a:pt x="17569" y="35261"/>
                  </a:lnTo>
                  <a:lnTo>
                    <a:pt x="17569" y="35820"/>
                  </a:lnTo>
                  <a:lnTo>
                    <a:pt x="17631" y="36875"/>
                  </a:lnTo>
                  <a:lnTo>
                    <a:pt x="17818" y="37806"/>
                  </a:lnTo>
                  <a:lnTo>
                    <a:pt x="18128" y="38676"/>
                  </a:lnTo>
                  <a:lnTo>
                    <a:pt x="18501" y="39483"/>
                  </a:lnTo>
                  <a:lnTo>
                    <a:pt x="18935" y="40228"/>
                  </a:lnTo>
                  <a:lnTo>
                    <a:pt x="19370" y="40910"/>
                  </a:lnTo>
                  <a:lnTo>
                    <a:pt x="20363" y="42214"/>
                  </a:lnTo>
                  <a:lnTo>
                    <a:pt x="18625" y="42338"/>
                  </a:lnTo>
                  <a:lnTo>
                    <a:pt x="16638" y="42524"/>
                  </a:lnTo>
                  <a:lnTo>
                    <a:pt x="14403" y="42773"/>
                  </a:lnTo>
                  <a:lnTo>
                    <a:pt x="12044" y="43145"/>
                  </a:lnTo>
                  <a:lnTo>
                    <a:pt x="10803" y="43394"/>
                  </a:lnTo>
                  <a:lnTo>
                    <a:pt x="9623" y="43642"/>
                  </a:lnTo>
                  <a:lnTo>
                    <a:pt x="8382" y="44014"/>
                  </a:lnTo>
                  <a:lnTo>
                    <a:pt x="7140" y="44387"/>
                  </a:lnTo>
                  <a:lnTo>
                    <a:pt x="5961" y="44821"/>
                  </a:lnTo>
                  <a:lnTo>
                    <a:pt x="4781" y="45318"/>
                  </a:lnTo>
                  <a:lnTo>
                    <a:pt x="3602" y="45877"/>
                  </a:lnTo>
                  <a:lnTo>
                    <a:pt x="2484" y="46497"/>
                  </a:lnTo>
                  <a:lnTo>
                    <a:pt x="1491" y="47180"/>
                  </a:lnTo>
                  <a:lnTo>
                    <a:pt x="560" y="47863"/>
                  </a:lnTo>
                  <a:lnTo>
                    <a:pt x="8257" y="47863"/>
                  </a:lnTo>
                  <a:lnTo>
                    <a:pt x="9251" y="47305"/>
                  </a:lnTo>
                  <a:lnTo>
                    <a:pt x="10120" y="46870"/>
                  </a:lnTo>
                  <a:lnTo>
                    <a:pt x="11548" y="46311"/>
                  </a:lnTo>
                  <a:lnTo>
                    <a:pt x="13100" y="45877"/>
                  </a:lnTo>
                  <a:lnTo>
                    <a:pt x="14652" y="45566"/>
                  </a:lnTo>
                  <a:lnTo>
                    <a:pt x="16204" y="45256"/>
                  </a:lnTo>
                  <a:lnTo>
                    <a:pt x="17631" y="45070"/>
                  </a:lnTo>
                  <a:lnTo>
                    <a:pt x="18935" y="44946"/>
                  </a:lnTo>
                  <a:lnTo>
                    <a:pt x="20052" y="44883"/>
                  </a:lnTo>
                  <a:lnTo>
                    <a:pt x="21418" y="44821"/>
                  </a:lnTo>
                  <a:lnTo>
                    <a:pt x="22536" y="44821"/>
                  </a:lnTo>
                  <a:lnTo>
                    <a:pt x="23529" y="44946"/>
                  </a:lnTo>
                  <a:lnTo>
                    <a:pt x="25702" y="46435"/>
                  </a:lnTo>
                  <a:lnTo>
                    <a:pt x="27564" y="47863"/>
                  </a:lnTo>
                  <a:lnTo>
                    <a:pt x="38738" y="47863"/>
                  </a:lnTo>
                  <a:lnTo>
                    <a:pt x="38180" y="46808"/>
                  </a:lnTo>
                  <a:lnTo>
                    <a:pt x="37497" y="45753"/>
                  </a:lnTo>
                  <a:lnTo>
                    <a:pt x="36752" y="44821"/>
                  </a:lnTo>
                  <a:lnTo>
                    <a:pt x="35945" y="43890"/>
                  </a:lnTo>
                  <a:lnTo>
                    <a:pt x="35014" y="43021"/>
                  </a:lnTo>
                  <a:lnTo>
                    <a:pt x="34144" y="42214"/>
                  </a:lnTo>
                  <a:lnTo>
                    <a:pt x="32158" y="40538"/>
                  </a:lnTo>
                  <a:lnTo>
                    <a:pt x="28806" y="37931"/>
                  </a:lnTo>
                  <a:lnTo>
                    <a:pt x="27999" y="37186"/>
                  </a:lnTo>
                  <a:lnTo>
                    <a:pt x="27564" y="36813"/>
                  </a:lnTo>
                  <a:lnTo>
                    <a:pt x="27192" y="36379"/>
                  </a:lnTo>
                  <a:lnTo>
                    <a:pt x="26881" y="35820"/>
                  </a:lnTo>
                  <a:lnTo>
                    <a:pt x="26571" y="35261"/>
                  </a:lnTo>
                  <a:lnTo>
                    <a:pt x="26447" y="34640"/>
                  </a:lnTo>
                  <a:lnTo>
                    <a:pt x="26385" y="33895"/>
                  </a:lnTo>
                  <a:lnTo>
                    <a:pt x="26447" y="33151"/>
                  </a:lnTo>
                  <a:lnTo>
                    <a:pt x="26571" y="32468"/>
                  </a:lnTo>
                  <a:lnTo>
                    <a:pt x="26881" y="31847"/>
                  </a:lnTo>
                  <a:lnTo>
                    <a:pt x="27192" y="31288"/>
                  </a:lnTo>
                  <a:lnTo>
                    <a:pt x="27626" y="30729"/>
                  </a:lnTo>
                  <a:lnTo>
                    <a:pt x="28061" y="30233"/>
                  </a:lnTo>
                  <a:lnTo>
                    <a:pt x="28992" y="29302"/>
                  </a:lnTo>
                  <a:lnTo>
                    <a:pt x="30420" y="28122"/>
                  </a:lnTo>
                  <a:lnTo>
                    <a:pt x="31848" y="26881"/>
                  </a:lnTo>
                  <a:lnTo>
                    <a:pt x="32530" y="26260"/>
                  </a:lnTo>
                  <a:lnTo>
                    <a:pt x="33213" y="25577"/>
                  </a:lnTo>
                  <a:lnTo>
                    <a:pt x="33834" y="24832"/>
                  </a:lnTo>
                  <a:lnTo>
                    <a:pt x="34393" y="24087"/>
                  </a:lnTo>
                  <a:lnTo>
                    <a:pt x="34889" y="23280"/>
                  </a:lnTo>
                  <a:lnTo>
                    <a:pt x="35386" y="22473"/>
                  </a:lnTo>
                  <a:lnTo>
                    <a:pt x="35821" y="21542"/>
                  </a:lnTo>
                  <a:lnTo>
                    <a:pt x="36131" y="20548"/>
                  </a:lnTo>
                  <a:lnTo>
                    <a:pt x="36441" y="19555"/>
                  </a:lnTo>
                  <a:lnTo>
                    <a:pt x="36690" y="18438"/>
                  </a:lnTo>
                  <a:lnTo>
                    <a:pt x="36814" y="17258"/>
                  </a:lnTo>
                  <a:lnTo>
                    <a:pt x="36814" y="16017"/>
                  </a:lnTo>
                  <a:lnTo>
                    <a:pt x="36814" y="14713"/>
                  </a:lnTo>
                  <a:lnTo>
                    <a:pt x="36628" y="13471"/>
                  </a:lnTo>
                  <a:lnTo>
                    <a:pt x="36379" y="12354"/>
                  </a:lnTo>
                  <a:lnTo>
                    <a:pt x="36131" y="11299"/>
                  </a:lnTo>
                  <a:lnTo>
                    <a:pt x="35758" y="10305"/>
                  </a:lnTo>
                  <a:lnTo>
                    <a:pt x="35324" y="9374"/>
                  </a:lnTo>
                  <a:lnTo>
                    <a:pt x="34827" y="8505"/>
                  </a:lnTo>
                  <a:lnTo>
                    <a:pt x="34331" y="7698"/>
                  </a:lnTo>
                  <a:lnTo>
                    <a:pt x="33772" y="6953"/>
                  </a:lnTo>
                  <a:lnTo>
                    <a:pt x="33213" y="6270"/>
                  </a:lnTo>
                  <a:lnTo>
                    <a:pt x="32717" y="5650"/>
                  </a:lnTo>
                  <a:lnTo>
                    <a:pt x="32158" y="5091"/>
                  </a:lnTo>
                  <a:lnTo>
                    <a:pt x="31103" y="4160"/>
                  </a:lnTo>
                  <a:lnTo>
                    <a:pt x="30171" y="3353"/>
                  </a:lnTo>
                  <a:lnTo>
                    <a:pt x="36007" y="3353"/>
                  </a:lnTo>
                  <a:lnTo>
                    <a:pt x="41966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2" name="Shape 172"/>
            <p:cNvSpPr/>
            <p:nvPr/>
          </p:nvSpPr>
          <p:spPr>
            <a:xfrm>
              <a:off x="4484510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839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3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5" y="11734"/>
                  </a:lnTo>
                  <a:lnTo>
                    <a:pt x="34330" y="12665"/>
                  </a:lnTo>
                  <a:lnTo>
                    <a:pt x="34702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3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8" y="33523"/>
                  </a:lnTo>
                  <a:lnTo>
                    <a:pt x="35882" y="34765"/>
                  </a:lnTo>
                  <a:lnTo>
                    <a:pt x="35571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454" y="37186"/>
                  </a:lnTo>
                  <a:lnTo>
                    <a:pt x="34082" y="37683"/>
                  </a:lnTo>
                  <a:lnTo>
                    <a:pt x="33585" y="38241"/>
                  </a:lnTo>
                  <a:lnTo>
                    <a:pt x="33150" y="38738"/>
                  </a:lnTo>
                  <a:lnTo>
                    <a:pt x="32592" y="39173"/>
                  </a:lnTo>
                  <a:lnTo>
                    <a:pt x="32033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7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7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340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8" y="33151"/>
                  </a:lnTo>
                  <a:lnTo>
                    <a:pt x="12292" y="32220"/>
                  </a:lnTo>
                  <a:lnTo>
                    <a:pt x="11857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0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22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29" y="10057"/>
                  </a:lnTo>
                  <a:lnTo>
                    <a:pt x="10740" y="9313"/>
                  </a:lnTo>
                  <a:lnTo>
                    <a:pt x="11174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6" y="6705"/>
                  </a:lnTo>
                  <a:lnTo>
                    <a:pt x="13409" y="6084"/>
                  </a:lnTo>
                  <a:lnTo>
                    <a:pt x="14278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0" y="2918"/>
                  </a:lnTo>
                  <a:lnTo>
                    <a:pt x="21790" y="2856"/>
                  </a:lnTo>
                  <a:close/>
                  <a:moveTo>
                    <a:pt x="22907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699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2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0" y="13968"/>
                  </a:lnTo>
                  <a:lnTo>
                    <a:pt x="1366" y="15024"/>
                  </a:lnTo>
                  <a:lnTo>
                    <a:pt x="1055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248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8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18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0" y="34268"/>
                  </a:lnTo>
                  <a:lnTo>
                    <a:pt x="3849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19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7" y="44698"/>
                  </a:lnTo>
                  <a:lnTo>
                    <a:pt x="22783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2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19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0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79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4945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7" y="23094"/>
                  </a:lnTo>
                  <a:lnTo>
                    <a:pt x="46559" y="22039"/>
                  </a:lnTo>
                  <a:lnTo>
                    <a:pt x="46497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7" y="13844"/>
                  </a:lnTo>
                  <a:lnTo>
                    <a:pt x="44573" y="12851"/>
                  </a:lnTo>
                  <a:lnTo>
                    <a:pt x="44138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447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33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3" name="Shape 173"/>
            <p:cNvSpPr/>
            <p:nvPr/>
          </p:nvSpPr>
          <p:spPr>
            <a:xfrm>
              <a:off x="2482961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901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4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6" y="11734"/>
                  </a:lnTo>
                  <a:lnTo>
                    <a:pt x="34330" y="12665"/>
                  </a:lnTo>
                  <a:lnTo>
                    <a:pt x="34703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4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9" y="33523"/>
                  </a:lnTo>
                  <a:lnTo>
                    <a:pt x="35882" y="34765"/>
                  </a:lnTo>
                  <a:lnTo>
                    <a:pt x="35572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516" y="37186"/>
                  </a:lnTo>
                  <a:lnTo>
                    <a:pt x="34082" y="37683"/>
                  </a:lnTo>
                  <a:lnTo>
                    <a:pt x="33647" y="38241"/>
                  </a:lnTo>
                  <a:lnTo>
                    <a:pt x="33151" y="38738"/>
                  </a:lnTo>
                  <a:lnTo>
                    <a:pt x="32592" y="39173"/>
                  </a:lnTo>
                  <a:lnTo>
                    <a:pt x="32095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8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8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403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9" y="33151"/>
                  </a:lnTo>
                  <a:lnTo>
                    <a:pt x="12354" y="32220"/>
                  </a:lnTo>
                  <a:lnTo>
                    <a:pt x="11920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1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85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30" y="10057"/>
                  </a:lnTo>
                  <a:lnTo>
                    <a:pt x="10740" y="9313"/>
                  </a:lnTo>
                  <a:lnTo>
                    <a:pt x="11175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7" y="6705"/>
                  </a:lnTo>
                  <a:lnTo>
                    <a:pt x="13409" y="6084"/>
                  </a:lnTo>
                  <a:lnTo>
                    <a:pt x="14279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1" y="2918"/>
                  </a:lnTo>
                  <a:lnTo>
                    <a:pt x="21790" y="2856"/>
                  </a:lnTo>
                  <a:close/>
                  <a:moveTo>
                    <a:pt x="22908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700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3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1" y="13968"/>
                  </a:lnTo>
                  <a:lnTo>
                    <a:pt x="1366" y="15024"/>
                  </a:lnTo>
                  <a:lnTo>
                    <a:pt x="1056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311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9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80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1" y="34268"/>
                  </a:lnTo>
                  <a:lnTo>
                    <a:pt x="3911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20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8" y="44698"/>
                  </a:lnTo>
                  <a:lnTo>
                    <a:pt x="22845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3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20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1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80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5008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8" y="23094"/>
                  </a:lnTo>
                  <a:lnTo>
                    <a:pt x="46560" y="22039"/>
                  </a:lnTo>
                  <a:lnTo>
                    <a:pt x="46498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8" y="13844"/>
                  </a:lnTo>
                  <a:lnTo>
                    <a:pt x="44573" y="12851"/>
                  </a:lnTo>
                  <a:lnTo>
                    <a:pt x="44139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510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95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4" name="Shape 174"/>
            <p:cNvSpPr/>
            <p:nvPr/>
          </p:nvSpPr>
          <p:spPr>
            <a:xfrm>
              <a:off x="17169" y="4936221"/>
              <a:ext cx="2309597" cy="2638858"/>
            </a:xfrm>
            <a:custGeom>
              <a:avLst/>
              <a:gdLst/>
              <a:ahLst/>
              <a:cxnLst/>
              <a:rect l="0" t="0" r="0" b="0"/>
              <a:pathLst>
                <a:path w="60528" h="69157" extrusionOk="0">
                  <a:moveTo>
                    <a:pt x="30170" y="1"/>
                  </a:moveTo>
                  <a:lnTo>
                    <a:pt x="27687" y="63"/>
                  </a:lnTo>
                  <a:lnTo>
                    <a:pt x="25266" y="249"/>
                  </a:lnTo>
                  <a:lnTo>
                    <a:pt x="22969" y="559"/>
                  </a:lnTo>
                  <a:lnTo>
                    <a:pt x="20672" y="994"/>
                  </a:lnTo>
                  <a:lnTo>
                    <a:pt x="18500" y="1491"/>
                  </a:lnTo>
                  <a:lnTo>
                    <a:pt x="16451" y="2111"/>
                  </a:lnTo>
                  <a:lnTo>
                    <a:pt x="14402" y="2856"/>
                  </a:lnTo>
                  <a:lnTo>
                    <a:pt x="12478" y="3663"/>
                  </a:lnTo>
                  <a:lnTo>
                    <a:pt x="10616" y="4533"/>
                  </a:lnTo>
                  <a:lnTo>
                    <a:pt x="8815" y="5588"/>
                  </a:lnTo>
                  <a:lnTo>
                    <a:pt x="7139" y="6643"/>
                  </a:lnTo>
                  <a:lnTo>
                    <a:pt x="5525" y="7823"/>
                  </a:lnTo>
                  <a:lnTo>
                    <a:pt x="4035" y="9064"/>
                  </a:lnTo>
                  <a:lnTo>
                    <a:pt x="2607" y="10368"/>
                  </a:lnTo>
                  <a:lnTo>
                    <a:pt x="1242" y="11734"/>
                  </a:lnTo>
                  <a:lnTo>
                    <a:pt x="0" y="13224"/>
                  </a:lnTo>
                  <a:lnTo>
                    <a:pt x="0" y="57238"/>
                  </a:lnTo>
                  <a:lnTo>
                    <a:pt x="1117" y="58541"/>
                  </a:lnTo>
                  <a:lnTo>
                    <a:pt x="2297" y="59721"/>
                  </a:lnTo>
                  <a:lnTo>
                    <a:pt x="3539" y="60900"/>
                  </a:lnTo>
                  <a:lnTo>
                    <a:pt x="4904" y="62018"/>
                  </a:lnTo>
                  <a:lnTo>
                    <a:pt x="6332" y="63073"/>
                  </a:lnTo>
                  <a:lnTo>
                    <a:pt x="7884" y="64004"/>
                  </a:lnTo>
                  <a:lnTo>
                    <a:pt x="9436" y="64935"/>
                  </a:lnTo>
                  <a:lnTo>
                    <a:pt x="11174" y="65742"/>
                  </a:lnTo>
                  <a:lnTo>
                    <a:pt x="12912" y="66549"/>
                  </a:lnTo>
                  <a:lnTo>
                    <a:pt x="14837" y="67170"/>
                  </a:lnTo>
                  <a:lnTo>
                    <a:pt x="16761" y="67729"/>
                  </a:lnTo>
                  <a:lnTo>
                    <a:pt x="18810" y="68226"/>
                  </a:lnTo>
                  <a:lnTo>
                    <a:pt x="20983" y="68598"/>
                  </a:lnTo>
                  <a:lnTo>
                    <a:pt x="23218" y="68908"/>
                  </a:lnTo>
                  <a:lnTo>
                    <a:pt x="25577" y="69095"/>
                  </a:lnTo>
                  <a:lnTo>
                    <a:pt x="27998" y="69157"/>
                  </a:lnTo>
                  <a:lnTo>
                    <a:pt x="29922" y="69095"/>
                  </a:lnTo>
                  <a:lnTo>
                    <a:pt x="31847" y="68970"/>
                  </a:lnTo>
                  <a:lnTo>
                    <a:pt x="33771" y="68846"/>
                  </a:lnTo>
                  <a:lnTo>
                    <a:pt x="35633" y="68660"/>
                  </a:lnTo>
                  <a:lnTo>
                    <a:pt x="39482" y="68163"/>
                  </a:lnTo>
                  <a:lnTo>
                    <a:pt x="43517" y="67543"/>
                  </a:lnTo>
                  <a:lnTo>
                    <a:pt x="56927" y="64439"/>
                  </a:lnTo>
                  <a:lnTo>
                    <a:pt x="56927" y="52954"/>
                  </a:lnTo>
                  <a:lnTo>
                    <a:pt x="56989" y="50657"/>
                  </a:lnTo>
                  <a:lnTo>
                    <a:pt x="57113" y="48484"/>
                  </a:lnTo>
                  <a:lnTo>
                    <a:pt x="57237" y="47988"/>
                  </a:lnTo>
                  <a:lnTo>
                    <a:pt x="57423" y="47615"/>
                  </a:lnTo>
                  <a:lnTo>
                    <a:pt x="57671" y="47305"/>
                  </a:lnTo>
                  <a:lnTo>
                    <a:pt x="58044" y="46932"/>
                  </a:lnTo>
                  <a:lnTo>
                    <a:pt x="60527" y="44636"/>
                  </a:lnTo>
                  <a:lnTo>
                    <a:pt x="40600" y="44636"/>
                  </a:lnTo>
                  <a:lnTo>
                    <a:pt x="33088" y="48671"/>
                  </a:lnTo>
                  <a:lnTo>
                    <a:pt x="47242" y="47926"/>
                  </a:lnTo>
                  <a:lnTo>
                    <a:pt x="47242" y="63011"/>
                  </a:lnTo>
                  <a:lnTo>
                    <a:pt x="45069" y="63880"/>
                  </a:lnTo>
                  <a:lnTo>
                    <a:pt x="43828" y="64252"/>
                  </a:lnTo>
                  <a:lnTo>
                    <a:pt x="42524" y="64625"/>
                  </a:lnTo>
                  <a:lnTo>
                    <a:pt x="41034" y="64935"/>
                  </a:lnTo>
                  <a:lnTo>
                    <a:pt x="39358" y="65184"/>
                  </a:lnTo>
                  <a:lnTo>
                    <a:pt x="37434" y="65308"/>
                  </a:lnTo>
                  <a:lnTo>
                    <a:pt x="35323" y="65370"/>
                  </a:lnTo>
                  <a:lnTo>
                    <a:pt x="33461" y="65308"/>
                  </a:lnTo>
                  <a:lnTo>
                    <a:pt x="31598" y="65184"/>
                  </a:lnTo>
                  <a:lnTo>
                    <a:pt x="29798" y="64935"/>
                  </a:lnTo>
                  <a:lnTo>
                    <a:pt x="27998" y="64625"/>
                  </a:lnTo>
                  <a:lnTo>
                    <a:pt x="26322" y="64190"/>
                  </a:lnTo>
                  <a:lnTo>
                    <a:pt x="24645" y="63694"/>
                  </a:lnTo>
                  <a:lnTo>
                    <a:pt x="23031" y="63135"/>
                  </a:lnTo>
                  <a:lnTo>
                    <a:pt x="21479" y="62514"/>
                  </a:lnTo>
                  <a:lnTo>
                    <a:pt x="19989" y="61769"/>
                  </a:lnTo>
                  <a:lnTo>
                    <a:pt x="18562" y="60962"/>
                  </a:lnTo>
                  <a:lnTo>
                    <a:pt x="17134" y="60093"/>
                  </a:lnTo>
                  <a:lnTo>
                    <a:pt x="15830" y="59162"/>
                  </a:lnTo>
                  <a:lnTo>
                    <a:pt x="14527" y="58169"/>
                  </a:lnTo>
                  <a:lnTo>
                    <a:pt x="13285" y="57113"/>
                  </a:lnTo>
                  <a:lnTo>
                    <a:pt x="12168" y="55996"/>
                  </a:lnTo>
                  <a:lnTo>
                    <a:pt x="11050" y="54879"/>
                  </a:lnTo>
                  <a:lnTo>
                    <a:pt x="9995" y="53637"/>
                  </a:lnTo>
                  <a:lnTo>
                    <a:pt x="9001" y="52395"/>
                  </a:lnTo>
                  <a:lnTo>
                    <a:pt x="8070" y="51030"/>
                  </a:lnTo>
                  <a:lnTo>
                    <a:pt x="7201" y="49726"/>
                  </a:lnTo>
                  <a:lnTo>
                    <a:pt x="6394" y="48298"/>
                  </a:lnTo>
                  <a:lnTo>
                    <a:pt x="5649" y="46870"/>
                  </a:lnTo>
                  <a:lnTo>
                    <a:pt x="5028" y="45380"/>
                  </a:lnTo>
                  <a:lnTo>
                    <a:pt x="4408" y="43891"/>
                  </a:lnTo>
                  <a:lnTo>
                    <a:pt x="3849" y="42339"/>
                  </a:lnTo>
                  <a:lnTo>
                    <a:pt x="3414" y="40787"/>
                  </a:lnTo>
                  <a:lnTo>
                    <a:pt x="2980" y="39235"/>
                  </a:lnTo>
                  <a:lnTo>
                    <a:pt x="2669" y="37621"/>
                  </a:lnTo>
                  <a:lnTo>
                    <a:pt x="2421" y="36007"/>
                  </a:lnTo>
                  <a:lnTo>
                    <a:pt x="2235" y="34393"/>
                  </a:lnTo>
                  <a:lnTo>
                    <a:pt x="2111" y="32716"/>
                  </a:lnTo>
                  <a:lnTo>
                    <a:pt x="2111" y="31102"/>
                  </a:lnTo>
                  <a:lnTo>
                    <a:pt x="2111" y="29550"/>
                  </a:lnTo>
                  <a:lnTo>
                    <a:pt x="2235" y="28060"/>
                  </a:lnTo>
                  <a:lnTo>
                    <a:pt x="2359" y="26633"/>
                  </a:lnTo>
                  <a:lnTo>
                    <a:pt x="2607" y="25205"/>
                  </a:lnTo>
                  <a:lnTo>
                    <a:pt x="2856" y="23777"/>
                  </a:lnTo>
                  <a:lnTo>
                    <a:pt x="3228" y="22411"/>
                  </a:lnTo>
                  <a:lnTo>
                    <a:pt x="3601" y="21108"/>
                  </a:lnTo>
                  <a:lnTo>
                    <a:pt x="4035" y="19804"/>
                  </a:lnTo>
                  <a:lnTo>
                    <a:pt x="4594" y="18562"/>
                  </a:lnTo>
                  <a:lnTo>
                    <a:pt x="5153" y="17383"/>
                  </a:lnTo>
                  <a:lnTo>
                    <a:pt x="5773" y="16203"/>
                  </a:lnTo>
                  <a:lnTo>
                    <a:pt x="6394" y="15086"/>
                  </a:lnTo>
                  <a:lnTo>
                    <a:pt x="7139" y="14031"/>
                  </a:lnTo>
                  <a:lnTo>
                    <a:pt x="7884" y="12975"/>
                  </a:lnTo>
                  <a:lnTo>
                    <a:pt x="8691" y="12044"/>
                  </a:lnTo>
                  <a:lnTo>
                    <a:pt x="9560" y="11051"/>
                  </a:lnTo>
                  <a:lnTo>
                    <a:pt x="10429" y="10182"/>
                  </a:lnTo>
                  <a:lnTo>
                    <a:pt x="11360" y="9375"/>
                  </a:lnTo>
                  <a:lnTo>
                    <a:pt x="12354" y="8568"/>
                  </a:lnTo>
                  <a:lnTo>
                    <a:pt x="13347" y="7823"/>
                  </a:lnTo>
                  <a:lnTo>
                    <a:pt x="14402" y="7140"/>
                  </a:lnTo>
                  <a:lnTo>
                    <a:pt x="15520" y="6519"/>
                  </a:lnTo>
                  <a:lnTo>
                    <a:pt x="16637" y="5898"/>
                  </a:lnTo>
                  <a:lnTo>
                    <a:pt x="17755" y="5402"/>
                  </a:lnTo>
                  <a:lnTo>
                    <a:pt x="18996" y="4967"/>
                  </a:lnTo>
                  <a:lnTo>
                    <a:pt x="20176" y="4533"/>
                  </a:lnTo>
                  <a:lnTo>
                    <a:pt x="21417" y="4160"/>
                  </a:lnTo>
                  <a:lnTo>
                    <a:pt x="22721" y="3912"/>
                  </a:lnTo>
                  <a:lnTo>
                    <a:pt x="24025" y="3663"/>
                  </a:lnTo>
                  <a:lnTo>
                    <a:pt x="25390" y="3539"/>
                  </a:lnTo>
                  <a:lnTo>
                    <a:pt x="26694" y="3415"/>
                  </a:lnTo>
                  <a:lnTo>
                    <a:pt x="28122" y="3415"/>
                  </a:lnTo>
                  <a:lnTo>
                    <a:pt x="30108" y="3477"/>
                  </a:lnTo>
                  <a:lnTo>
                    <a:pt x="32033" y="3663"/>
                  </a:lnTo>
                  <a:lnTo>
                    <a:pt x="33771" y="3912"/>
                  </a:lnTo>
                  <a:lnTo>
                    <a:pt x="35447" y="4346"/>
                  </a:lnTo>
                  <a:lnTo>
                    <a:pt x="36999" y="4781"/>
                  </a:lnTo>
                  <a:lnTo>
                    <a:pt x="38489" y="5340"/>
                  </a:lnTo>
                  <a:lnTo>
                    <a:pt x="39855" y="5960"/>
                  </a:lnTo>
                  <a:lnTo>
                    <a:pt x="41096" y="6643"/>
                  </a:lnTo>
                  <a:lnTo>
                    <a:pt x="42276" y="7326"/>
                  </a:lnTo>
                  <a:lnTo>
                    <a:pt x="43331" y="8071"/>
                  </a:lnTo>
                  <a:lnTo>
                    <a:pt x="44324" y="8816"/>
                  </a:lnTo>
                  <a:lnTo>
                    <a:pt x="45256" y="9499"/>
                  </a:lnTo>
                  <a:lnTo>
                    <a:pt x="46870" y="10927"/>
                  </a:lnTo>
                  <a:lnTo>
                    <a:pt x="48173" y="12230"/>
                  </a:lnTo>
                  <a:lnTo>
                    <a:pt x="45876" y="15955"/>
                  </a:lnTo>
                  <a:lnTo>
                    <a:pt x="49167" y="15210"/>
                  </a:lnTo>
                  <a:lnTo>
                    <a:pt x="56927" y="7823"/>
                  </a:lnTo>
                  <a:lnTo>
                    <a:pt x="55126" y="6581"/>
                  </a:lnTo>
                  <a:lnTo>
                    <a:pt x="53947" y="5836"/>
                  </a:lnTo>
                  <a:lnTo>
                    <a:pt x="52581" y="5091"/>
                  </a:lnTo>
                  <a:lnTo>
                    <a:pt x="51029" y="4346"/>
                  </a:lnTo>
                  <a:lnTo>
                    <a:pt x="49167" y="3539"/>
                  </a:lnTo>
                  <a:lnTo>
                    <a:pt x="46994" y="2732"/>
                  </a:lnTo>
                  <a:lnTo>
                    <a:pt x="44511" y="1987"/>
                  </a:lnTo>
                  <a:lnTo>
                    <a:pt x="42835" y="1553"/>
                  </a:lnTo>
                  <a:lnTo>
                    <a:pt x="41158" y="1180"/>
                  </a:lnTo>
                  <a:lnTo>
                    <a:pt x="39358" y="808"/>
                  </a:lnTo>
                  <a:lnTo>
                    <a:pt x="37620" y="559"/>
                  </a:lnTo>
                  <a:lnTo>
                    <a:pt x="35758" y="311"/>
                  </a:lnTo>
                  <a:lnTo>
                    <a:pt x="33957" y="125"/>
                  </a:lnTo>
                  <a:lnTo>
                    <a:pt x="32033" y="63"/>
                  </a:lnTo>
                  <a:lnTo>
                    <a:pt x="30170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5" name="Shape 175"/>
            <p:cNvSpPr/>
            <p:nvPr/>
          </p:nvSpPr>
          <p:spPr>
            <a:xfrm>
              <a:off x="8013824" y="4853348"/>
              <a:ext cx="945199" cy="2534611"/>
            </a:xfrm>
            <a:custGeom>
              <a:avLst/>
              <a:gdLst/>
              <a:ahLst/>
              <a:cxnLst/>
              <a:rect l="0" t="0" r="0" b="0"/>
              <a:pathLst>
                <a:path w="24771" h="66425" extrusionOk="0">
                  <a:moveTo>
                    <a:pt x="7078" y="0"/>
                  </a:moveTo>
                  <a:lnTo>
                    <a:pt x="1" y="3414"/>
                  </a:lnTo>
                  <a:lnTo>
                    <a:pt x="7202" y="3414"/>
                  </a:lnTo>
                  <a:lnTo>
                    <a:pt x="7202" y="58354"/>
                  </a:lnTo>
                  <a:lnTo>
                    <a:pt x="7202" y="61458"/>
                  </a:lnTo>
                  <a:lnTo>
                    <a:pt x="7202" y="62079"/>
                  </a:lnTo>
                  <a:lnTo>
                    <a:pt x="7140" y="62638"/>
                  </a:lnTo>
                  <a:lnTo>
                    <a:pt x="6954" y="63134"/>
                  </a:lnTo>
                  <a:lnTo>
                    <a:pt x="6768" y="63569"/>
                  </a:lnTo>
                  <a:lnTo>
                    <a:pt x="6395" y="64128"/>
                  </a:lnTo>
                  <a:lnTo>
                    <a:pt x="5961" y="64748"/>
                  </a:lnTo>
                  <a:lnTo>
                    <a:pt x="4657" y="66424"/>
                  </a:lnTo>
                  <a:lnTo>
                    <a:pt x="21294" y="66424"/>
                  </a:lnTo>
                  <a:lnTo>
                    <a:pt x="24771" y="64376"/>
                  </a:lnTo>
                  <a:lnTo>
                    <a:pt x="22349" y="64128"/>
                  </a:lnTo>
                  <a:lnTo>
                    <a:pt x="19990" y="63879"/>
                  </a:lnTo>
                  <a:lnTo>
                    <a:pt x="18935" y="63755"/>
                  </a:lnTo>
                  <a:lnTo>
                    <a:pt x="18066" y="63569"/>
                  </a:lnTo>
                  <a:lnTo>
                    <a:pt x="17756" y="63445"/>
                  </a:lnTo>
                  <a:lnTo>
                    <a:pt x="17445" y="63321"/>
                  </a:lnTo>
                  <a:lnTo>
                    <a:pt x="17135" y="63134"/>
                  </a:lnTo>
                  <a:lnTo>
                    <a:pt x="16949" y="62886"/>
                  </a:lnTo>
                  <a:lnTo>
                    <a:pt x="16762" y="62638"/>
                  </a:lnTo>
                  <a:lnTo>
                    <a:pt x="16576" y="62327"/>
                  </a:lnTo>
                  <a:lnTo>
                    <a:pt x="16452" y="62017"/>
                  </a:lnTo>
                  <a:lnTo>
                    <a:pt x="16390" y="61582"/>
                  </a:lnTo>
                  <a:lnTo>
                    <a:pt x="16266" y="60651"/>
                  </a:lnTo>
                  <a:lnTo>
                    <a:pt x="16204" y="59410"/>
                  </a:lnTo>
                  <a:lnTo>
                    <a:pt x="16204" y="58354"/>
                  </a:lnTo>
                  <a:lnTo>
                    <a:pt x="16204" y="6146"/>
                  </a:lnTo>
                  <a:lnTo>
                    <a:pt x="16266" y="5587"/>
                  </a:lnTo>
                  <a:lnTo>
                    <a:pt x="16452" y="4470"/>
                  </a:lnTo>
                  <a:lnTo>
                    <a:pt x="16700" y="3539"/>
                  </a:lnTo>
                  <a:lnTo>
                    <a:pt x="17011" y="2794"/>
                  </a:lnTo>
                  <a:lnTo>
                    <a:pt x="17445" y="2173"/>
                  </a:lnTo>
                  <a:lnTo>
                    <a:pt x="18004" y="1676"/>
                  </a:lnTo>
                  <a:lnTo>
                    <a:pt x="18687" y="1117"/>
                  </a:lnTo>
                  <a:lnTo>
                    <a:pt x="19494" y="621"/>
                  </a:lnTo>
                  <a:lnTo>
                    <a:pt x="20487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76" name="Shape 176"/>
            <p:cNvSpPr/>
            <p:nvPr/>
          </p:nvSpPr>
          <p:spPr>
            <a:xfrm>
              <a:off x="8985007" y="5743946"/>
              <a:ext cx="1165482" cy="1712661"/>
            </a:xfrm>
            <a:custGeom>
              <a:avLst/>
              <a:gdLst/>
              <a:ahLst/>
              <a:cxnLst/>
              <a:rect l="0" t="0" r="0" b="0"/>
              <a:pathLst>
                <a:path w="30544" h="44884" extrusionOk="0">
                  <a:moveTo>
                    <a:pt x="18748" y="3105"/>
                  </a:moveTo>
                  <a:lnTo>
                    <a:pt x="19679" y="3167"/>
                  </a:lnTo>
                  <a:lnTo>
                    <a:pt x="20549" y="3291"/>
                  </a:lnTo>
                  <a:lnTo>
                    <a:pt x="21480" y="3539"/>
                  </a:lnTo>
                  <a:lnTo>
                    <a:pt x="22287" y="3788"/>
                  </a:lnTo>
                  <a:lnTo>
                    <a:pt x="23094" y="4222"/>
                  </a:lnTo>
                  <a:lnTo>
                    <a:pt x="23839" y="4657"/>
                  </a:lnTo>
                  <a:lnTo>
                    <a:pt x="24584" y="5153"/>
                  </a:lnTo>
                  <a:lnTo>
                    <a:pt x="25267" y="5712"/>
                  </a:lnTo>
                  <a:lnTo>
                    <a:pt x="25825" y="6271"/>
                  </a:lnTo>
                  <a:lnTo>
                    <a:pt x="26384" y="6954"/>
                  </a:lnTo>
                  <a:lnTo>
                    <a:pt x="26819" y="7574"/>
                  </a:lnTo>
                  <a:lnTo>
                    <a:pt x="27253" y="8257"/>
                  </a:lnTo>
                  <a:lnTo>
                    <a:pt x="27564" y="9002"/>
                  </a:lnTo>
                  <a:lnTo>
                    <a:pt x="27750" y="9685"/>
                  </a:lnTo>
                  <a:lnTo>
                    <a:pt x="27936" y="10430"/>
                  </a:lnTo>
                  <a:lnTo>
                    <a:pt x="27998" y="11113"/>
                  </a:lnTo>
                  <a:lnTo>
                    <a:pt x="27936" y="11547"/>
                  </a:lnTo>
                  <a:lnTo>
                    <a:pt x="27812" y="11982"/>
                  </a:lnTo>
                  <a:lnTo>
                    <a:pt x="27564" y="12292"/>
                  </a:lnTo>
                  <a:lnTo>
                    <a:pt x="27253" y="12603"/>
                  </a:lnTo>
                  <a:lnTo>
                    <a:pt x="26881" y="12913"/>
                  </a:lnTo>
                  <a:lnTo>
                    <a:pt x="26446" y="13161"/>
                  </a:lnTo>
                  <a:lnTo>
                    <a:pt x="25267" y="13658"/>
                  </a:lnTo>
                  <a:lnTo>
                    <a:pt x="8319" y="20983"/>
                  </a:lnTo>
                  <a:lnTo>
                    <a:pt x="8133" y="18500"/>
                  </a:lnTo>
                  <a:lnTo>
                    <a:pt x="8009" y="17259"/>
                  </a:lnTo>
                  <a:lnTo>
                    <a:pt x="8009" y="16079"/>
                  </a:lnTo>
                  <a:lnTo>
                    <a:pt x="8009" y="15148"/>
                  </a:lnTo>
                  <a:lnTo>
                    <a:pt x="8071" y="14279"/>
                  </a:lnTo>
                  <a:lnTo>
                    <a:pt x="8195" y="13410"/>
                  </a:lnTo>
                  <a:lnTo>
                    <a:pt x="8319" y="12603"/>
                  </a:lnTo>
                  <a:lnTo>
                    <a:pt x="8505" y="11858"/>
                  </a:lnTo>
                  <a:lnTo>
                    <a:pt x="8691" y="11113"/>
                  </a:lnTo>
                  <a:lnTo>
                    <a:pt x="8878" y="10430"/>
                  </a:lnTo>
                  <a:lnTo>
                    <a:pt x="9188" y="9809"/>
                  </a:lnTo>
                  <a:lnTo>
                    <a:pt x="9436" y="9188"/>
                  </a:lnTo>
                  <a:lnTo>
                    <a:pt x="9747" y="8568"/>
                  </a:lnTo>
                  <a:lnTo>
                    <a:pt x="10430" y="7512"/>
                  </a:lnTo>
                  <a:lnTo>
                    <a:pt x="11175" y="6581"/>
                  </a:lnTo>
                  <a:lnTo>
                    <a:pt x="11982" y="5774"/>
                  </a:lnTo>
                  <a:lnTo>
                    <a:pt x="12789" y="5091"/>
                  </a:lnTo>
                  <a:lnTo>
                    <a:pt x="13720" y="4532"/>
                  </a:lnTo>
                  <a:lnTo>
                    <a:pt x="14589" y="4098"/>
                  </a:lnTo>
                  <a:lnTo>
                    <a:pt x="15458" y="3725"/>
                  </a:lnTo>
                  <a:lnTo>
                    <a:pt x="16327" y="3415"/>
                  </a:lnTo>
                  <a:lnTo>
                    <a:pt x="17196" y="3229"/>
                  </a:lnTo>
                  <a:lnTo>
                    <a:pt x="18003" y="3105"/>
                  </a:lnTo>
                  <a:close/>
                  <a:moveTo>
                    <a:pt x="21356" y="1"/>
                  </a:moveTo>
                  <a:lnTo>
                    <a:pt x="20424" y="63"/>
                  </a:lnTo>
                  <a:lnTo>
                    <a:pt x="19493" y="125"/>
                  </a:lnTo>
                  <a:lnTo>
                    <a:pt x="18624" y="187"/>
                  </a:lnTo>
                  <a:lnTo>
                    <a:pt x="17693" y="373"/>
                  </a:lnTo>
                  <a:lnTo>
                    <a:pt x="16762" y="559"/>
                  </a:lnTo>
                  <a:lnTo>
                    <a:pt x="15831" y="746"/>
                  </a:lnTo>
                  <a:lnTo>
                    <a:pt x="14899" y="1056"/>
                  </a:lnTo>
                  <a:lnTo>
                    <a:pt x="13968" y="1366"/>
                  </a:lnTo>
                  <a:lnTo>
                    <a:pt x="13037" y="1677"/>
                  </a:lnTo>
                  <a:lnTo>
                    <a:pt x="12106" y="2111"/>
                  </a:lnTo>
                  <a:lnTo>
                    <a:pt x="11237" y="2546"/>
                  </a:lnTo>
                  <a:lnTo>
                    <a:pt x="10368" y="3043"/>
                  </a:lnTo>
                  <a:lnTo>
                    <a:pt x="9498" y="3539"/>
                  </a:lnTo>
                  <a:lnTo>
                    <a:pt x="8691" y="4098"/>
                  </a:lnTo>
                  <a:lnTo>
                    <a:pt x="7884" y="4719"/>
                  </a:lnTo>
                  <a:lnTo>
                    <a:pt x="7077" y="5339"/>
                  </a:lnTo>
                  <a:lnTo>
                    <a:pt x="6332" y="6084"/>
                  </a:lnTo>
                  <a:lnTo>
                    <a:pt x="5588" y="6767"/>
                  </a:lnTo>
                  <a:lnTo>
                    <a:pt x="4905" y="7574"/>
                  </a:lnTo>
                  <a:lnTo>
                    <a:pt x="4222" y="8381"/>
                  </a:lnTo>
                  <a:lnTo>
                    <a:pt x="3601" y="9250"/>
                  </a:lnTo>
                  <a:lnTo>
                    <a:pt x="2980" y="10182"/>
                  </a:lnTo>
                  <a:lnTo>
                    <a:pt x="2484" y="11113"/>
                  </a:lnTo>
                  <a:lnTo>
                    <a:pt x="1987" y="12106"/>
                  </a:lnTo>
                  <a:lnTo>
                    <a:pt x="1552" y="13099"/>
                  </a:lnTo>
                  <a:lnTo>
                    <a:pt x="1118" y="14217"/>
                  </a:lnTo>
                  <a:lnTo>
                    <a:pt x="807" y="15334"/>
                  </a:lnTo>
                  <a:lnTo>
                    <a:pt x="497" y="16452"/>
                  </a:lnTo>
                  <a:lnTo>
                    <a:pt x="311" y="17693"/>
                  </a:lnTo>
                  <a:lnTo>
                    <a:pt x="125" y="18935"/>
                  </a:lnTo>
                  <a:lnTo>
                    <a:pt x="0" y="20238"/>
                  </a:lnTo>
                  <a:lnTo>
                    <a:pt x="0" y="21542"/>
                  </a:lnTo>
                  <a:lnTo>
                    <a:pt x="0" y="22908"/>
                  </a:lnTo>
                  <a:lnTo>
                    <a:pt x="125" y="24211"/>
                  </a:lnTo>
                  <a:lnTo>
                    <a:pt x="311" y="25577"/>
                  </a:lnTo>
                  <a:lnTo>
                    <a:pt x="559" y="26943"/>
                  </a:lnTo>
                  <a:lnTo>
                    <a:pt x="870" y="28309"/>
                  </a:lnTo>
                  <a:lnTo>
                    <a:pt x="1242" y="29612"/>
                  </a:lnTo>
                  <a:lnTo>
                    <a:pt x="1739" y="30978"/>
                  </a:lnTo>
                  <a:lnTo>
                    <a:pt x="2235" y="32282"/>
                  </a:lnTo>
                  <a:lnTo>
                    <a:pt x="2856" y="33585"/>
                  </a:lnTo>
                  <a:lnTo>
                    <a:pt x="3601" y="34827"/>
                  </a:lnTo>
                  <a:lnTo>
                    <a:pt x="4346" y="36006"/>
                  </a:lnTo>
                  <a:lnTo>
                    <a:pt x="5215" y="37186"/>
                  </a:lnTo>
                  <a:lnTo>
                    <a:pt x="6146" y="38303"/>
                  </a:lnTo>
                  <a:lnTo>
                    <a:pt x="7202" y="39359"/>
                  </a:lnTo>
                  <a:lnTo>
                    <a:pt x="8319" y="40352"/>
                  </a:lnTo>
                  <a:lnTo>
                    <a:pt x="9498" y="41221"/>
                  </a:lnTo>
                  <a:lnTo>
                    <a:pt x="10368" y="41842"/>
                  </a:lnTo>
                  <a:lnTo>
                    <a:pt x="11299" y="42401"/>
                  </a:lnTo>
                  <a:lnTo>
                    <a:pt x="12168" y="42835"/>
                  </a:lnTo>
                  <a:lnTo>
                    <a:pt x="13037" y="43270"/>
                  </a:lnTo>
                  <a:lnTo>
                    <a:pt x="13906" y="43580"/>
                  </a:lnTo>
                  <a:lnTo>
                    <a:pt x="14713" y="43891"/>
                  </a:lnTo>
                  <a:lnTo>
                    <a:pt x="15582" y="44139"/>
                  </a:lnTo>
                  <a:lnTo>
                    <a:pt x="16389" y="44325"/>
                  </a:lnTo>
                  <a:lnTo>
                    <a:pt x="17941" y="44635"/>
                  </a:lnTo>
                  <a:lnTo>
                    <a:pt x="19369" y="44822"/>
                  </a:lnTo>
                  <a:lnTo>
                    <a:pt x="20735" y="44884"/>
                  </a:lnTo>
                  <a:lnTo>
                    <a:pt x="22908" y="44884"/>
                  </a:lnTo>
                  <a:lnTo>
                    <a:pt x="23963" y="44822"/>
                  </a:lnTo>
                  <a:lnTo>
                    <a:pt x="25018" y="44698"/>
                  </a:lnTo>
                  <a:lnTo>
                    <a:pt x="26136" y="44573"/>
                  </a:lnTo>
                  <a:lnTo>
                    <a:pt x="27191" y="44325"/>
                  </a:lnTo>
                  <a:lnTo>
                    <a:pt x="28308" y="44077"/>
                  </a:lnTo>
                  <a:lnTo>
                    <a:pt x="29426" y="43704"/>
                  </a:lnTo>
                  <a:lnTo>
                    <a:pt x="30543" y="43270"/>
                  </a:lnTo>
                  <a:lnTo>
                    <a:pt x="30543" y="39793"/>
                  </a:lnTo>
                  <a:lnTo>
                    <a:pt x="29115" y="39980"/>
                  </a:lnTo>
                  <a:lnTo>
                    <a:pt x="27564" y="40042"/>
                  </a:lnTo>
                  <a:lnTo>
                    <a:pt x="26756" y="39980"/>
                  </a:lnTo>
                  <a:lnTo>
                    <a:pt x="25949" y="39917"/>
                  </a:lnTo>
                  <a:lnTo>
                    <a:pt x="25142" y="39855"/>
                  </a:lnTo>
                  <a:lnTo>
                    <a:pt x="24335" y="39731"/>
                  </a:lnTo>
                  <a:lnTo>
                    <a:pt x="23528" y="39545"/>
                  </a:lnTo>
                  <a:lnTo>
                    <a:pt x="22721" y="39297"/>
                  </a:lnTo>
                  <a:lnTo>
                    <a:pt x="21976" y="39048"/>
                  </a:lnTo>
                  <a:lnTo>
                    <a:pt x="21169" y="38738"/>
                  </a:lnTo>
                  <a:lnTo>
                    <a:pt x="20424" y="38428"/>
                  </a:lnTo>
                  <a:lnTo>
                    <a:pt x="19679" y="38055"/>
                  </a:lnTo>
                  <a:lnTo>
                    <a:pt x="18935" y="37683"/>
                  </a:lnTo>
                  <a:lnTo>
                    <a:pt x="18252" y="37186"/>
                  </a:lnTo>
                  <a:lnTo>
                    <a:pt x="17507" y="36751"/>
                  </a:lnTo>
                  <a:lnTo>
                    <a:pt x="16824" y="36255"/>
                  </a:lnTo>
                  <a:lnTo>
                    <a:pt x="16203" y="35696"/>
                  </a:lnTo>
                  <a:lnTo>
                    <a:pt x="15520" y="35075"/>
                  </a:lnTo>
                  <a:lnTo>
                    <a:pt x="14899" y="34455"/>
                  </a:lnTo>
                  <a:lnTo>
                    <a:pt x="14279" y="33834"/>
                  </a:lnTo>
                  <a:lnTo>
                    <a:pt x="13720" y="33151"/>
                  </a:lnTo>
                  <a:lnTo>
                    <a:pt x="13161" y="32406"/>
                  </a:lnTo>
                  <a:lnTo>
                    <a:pt x="12602" y="31661"/>
                  </a:lnTo>
                  <a:lnTo>
                    <a:pt x="12106" y="30854"/>
                  </a:lnTo>
                  <a:lnTo>
                    <a:pt x="11609" y="30047"/>
                  </a:lnTo>
                  <a:lnTo>
                    <a:pt x="11113" y="29178"/>
                  </a:lnTo>
                  <a:lnTo>
                    <a:pt x="10678" y="28309"/>
                  </a:lnTo>
                  <a:lnTo>
                    <a:pt x="10243" y="27378"/>
                  </a:lnTo>
                  <a:lnTo>
                    <a:pt x="9871" y="26446"/>
                  </a:lnTo>
                  <a:lnTo>
                    <a:pt x="9498" y="25453"/>
                  </a:lnTo>
                  <a:lnTo>
                    <a:pt x="9188" y="24460"/>
                  </a:lnTo>
                  <a:lnTo>
                    <a:pt x="8878" y="23467"/>
                  </a:lnTo>
                  <a:lnTo>
                    <a:pt x="8629" y="22349"/>
                  </a:lnTo>
                  <a:lnTo>
                    <a:pt x="8381" y="21294"/>
                  </a:lnTo>
                  <a:lnTo>
                    <a:pt x="15582" y="20735"/>
                  </a:lnTo>
                  <a:lnTo>
                    <a:pt x="30543" y="14651"/>
                  </a:lnTo>
                  <a:lnTo>
                    <a:pt x="30543" y="2360"/>
                  </a:lnTo>
                  <a:lnTo>
                    <a:pt x="29488" y="1801"/>
                  </a:lnTo>
                  <a:lnTo>
                    <a:pt x="28371" y="1304"/>
                  </a:lnTo>
                  <a:lnTo>
                    <a:pt x="27253" y="932"/>
                  </a:lnTo>
                  <a:lnTo>
                    <a:pt x="26136" y="621"/>
                  </a:lnTo>
                  <a:lnTo>
                    <a:pt x="24956" y="311"/>
                  </a:lnTo>
                  <a:lnTo>
                    <a:pt x="23715" y="187"/>
                  </a:lnTo>
                  <a:lnTo>
                    <a:pt x="22535" y="63"/>
                  </a:lnTo>
                  <a:lnTo>
                    <a:pt x="21356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sp>
        <p:nvSpPr>
          <p:cNvPr id="177" name="Shape 177"/>
          <p:cNvSpPr/>
          <p:nvPr/>
        </p:nvSpPr>
        <p:spPr>
          <a:xfrm>
            <a:off x="5788151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parator (Red)">
  <p:cSld name="Separator (Red)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ctrTitle"/>
          </p:nvPr>
        </p:nvSpPr>
        <p:spPr>
          <a:xfrm>
            <a:off x="2871958" y="2286000"/>
            <a:ext cx="5586300" cy="109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subTitle" idx="1"/>
          </p:nvPr>
        </p:nvSpPr>
        <p:spPr>
          <a:xfrm>
            <a:off x="2871958" y="3352800"/>
            <a:ext cx="5586300" cy="1752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>
            <a:off x="2864216" y="3382298"/>
            <a:ext cx="62799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dash"/>
            <a:round/>
            <a:headEnd type="none" w="lg" len="lg"/>
            <a:tailEnd type="none" w="lg" len="lg"/>
          </a:ln>
        </p:spPr>
      </p:cxnSp>
      <p:grpSp>
        <p:nvGrpSpPr>
          <p:cNvPr id="182" name="Shape 182"/>
          <p:cNvGrpSpPr/>
          <p:nvPr/>
        </p:nvGrpSpPr>
        <p:grpSpPr>
          <a:xfrm>
            <a:off x="0" y="4361807"/>
            <a:ext cx="9144308" cy="2491988"/>
            <a:chOff x="17169" y="4853348"/>
            <a:chExt cx="10133320" cy="2766724"/>
          </a:xfrm>
        </p:grpSpPr>
        <p:sp>
          <p:nvSpPr>
            <p:cNvPr id="183" name="Shape 183"/>
            <p:cNvSpPr/>
            <p:nvPr/>
          </p:nvSpPr>
          <p:spPr>
            <a:xfrm>
              <a:off x="6455228" y="5793701"/>
              <a:ext cx="1601355" cy="1826370"/>
            </a:xfrm>
            <a:custGeom>
              <a:avLst/>
              <a:gdLst/>
              <a:ahLst/>
              <a:cxnLst/>
              <a:rect l="0" t="0" r="0" b="0"/>
              <a:pathLst>
                <a:path w="41967" h="47864" extrusionOk="0">
                  <a:moveTo>
                    <a:pt x="17507" y="3104"/>
                  </a:moveTo>
                  <a:lnTo>
                    <a:pt x="18252" y="3228"/>
                  </a:lnTo>
                  <a:lnTo>
                    <a:pt x="18873" y="3353"/>
                  </a:lnTo>
                  <a:lnTo>
                    <a:pt x="19556" y="3539"/>
                  </a:lnTo>
                  <a:lnTo>
                    <a:pt x="20177" y="3787"/>
                  </a:lnTo>
                  <a:lnTo>
                    <a:pt x="20797" y="4098"/>
                  </a:lnTo>
                  <a:lnTo>
                    <a:pt x="21356" y="4470"/>
                  </a:lnTo>
                  <a:lnTo>
                    <a:pt x="21915" y="4843"/>
                  </a:lnTo>
                  <a:lnTo>
                    <a:pt x="22474" y="5277"/>
                  </a:lnTo>
                  <a:lnTo>
                    <a:pt x="22970" y="5712"/>
                  </a:lnTo>
                  <a:lnTo>
                    <a:pt x="23467" y="6208"/>
                  </a:lnTo>
                  <a:lnTo>
                    <a:pt x="23963" y="6767"/>
                  </a:lnTo>
                  <a:lnTo>
                    <a:pt x="24833" y="7946"/>
                  </a:lnTo>
                  <a:lnTo>
                    <a:pt x="25640" y="9188"/>
                  </a:lnTo>
                  <a:lnTo>
                    <a:pt x="26322" y="10492"/>
                  </a:lnTo>
                  <a:lnTo>
                    <a:pt x="26943" y="11920"/>
                  </a:lnTo>
                  <a:lnTo>
                    <a:pt x="27440" y="13347"/>
                  </a:lnTo>
                  <a:lnTo>
                    <a:pt x="27874" y="14775"/>
                  </a:lnTo>
                  <a:lnTo>
                    <a:pt x="28185" y="16203"/>
                  </a:lnTo>
                  <a:lnTo>
                    <a:pt x="28433" y="17631"/>
                  </a:lnTo>
                  <a:lnTo>
                    <a:pt x="28557" y="18997"/>
                  </a:lnTo>
                  <a:lnTo>
                    <a:pt x="28619" y="20300"/>
                  </a:lnTo>
                  <a:lnTo>
                    <a:pt x="28619" y="20983"/>
                  </a:lnTo>
                  <a:lnTo>
                    <a:pt x="28557" y="21790"/>
                  </a:lnTo>
                  <a:lnTo>
                    <a:pt x="28433" y="22659"/>
                  </a:lnTo>
                  <a:lnTo>
                    <a:pt x="28247" y="23528"/>
                  </a:lnTo>
                  <a:lnTo>
                    <a:pt x="27937" y="24459"/>
                  </a:lnTo>
                  <a:lnTo>
                    <a:pt x="27564" y="25391"/>
                  </a:lnTo>
                  <a:lnTo>
                    <a:pt x="27254" y="25887"/>
                  </a:lnTo>
                  <a:lnTo>
                    <a:pt x="27005" y="26322"/>
                  </a:lnTo>
                  <a:lnTo>
                    <a:pt x="26633" y="26756"/>
                  </a:lnTo>
                  <a:lnTo>
                    <a:pt x="26260" y="27129"/>
                  </a:lnTo>
                  <a:lnTo>
                    <a:pt x="25640" y="27688"/>
                  </a:lnTo>
                  <a:lnTo>
                    <a:pt x="24957" y="28184"/>
                  </a:lnTo>
                  <a:lnTo>
                    <a:pt x="24212" y="28619"/>
                  </a:lnTo>
                  <a:lnTo>
                    <a:pt x="23405" y="28991"/>
                  </a:lnTo>
                  <a:lnTo>
                    <a:pt x="22536" y="29302"/>
                  </a:lnTo>
                  <a:lnTo>
                    <a:pt x="21667" y="29550"/>
                  </a:lnTo>
                  <a:lnTo>
                    <a:pt x="20797" y="29736"/>
                  </a:lnTo>
                  <a:lnTo>
                    <a:pt x="19183" y="29736"/>
                  </a:lnTo>
                  <a:lnTo>
                    <a:pt x="18438" y="29674"/>
                  </a:lnTo>
                  <a:lnTo>
                    <a:pt x="17756" y="29488"/>
                  </a:lnTo>
                  <a:lnTo>
                    <a:pt x="17073" y="29302"/>
                  </a:lnTo>
                  <a:lnTo>
                    <a:pt x="16452" y="29053"/>
                  </a:lnTo>
                  <a:lnTo>
                    <a:pt x="15831" y="28743"/>
                  </a:lnTo>
                  <a:lnTo>
                    <a:pt x="15272" y="28433"/>
                  </a:lnTo>
                  <a:lnTo>
                    <a:pt x="14652" y="28060"/>
                  </a:lnTo>
                  <a:lnTo>
                    <a:pt x="14155" y="27625"/>
                  </a:lnTo>
                  <a:lnTo>
                    <a:pt x="13596" y="27191"/>
                  </a:lnTo>
                  <a:lnTo>
                    <a:pt x="13162" y="26694"/>
                  </a:lnTo>
                  <a:lnTo>
                    <a:pt x="12665" y="26136"/>
                  </a:lnTo>
                  <a:lnTo>
                    <a:pt x="11796" y="25018"/>
                  </a:lnTo>
                  <a:lnTo>
                    <a:pt x="11051" y="23777"/>
                  </a:lnTo>
                  <a:lnTo>
                    <a:pt x="10368" y="22473"/>
                  </a:lnTo>
                  <a:lnTo>
                    <a:pt x="9809" y="21107"/>
                  </a:lnTo>
                  <a:lnTo>
                    <a:pt x="9313" y="19741"/>
                  </a:lnTo>
                  <a:lnTo>
                    <a:pt x="8878" y="18376"/>
                  </a:lnTo>
                  <a:lnTo>
                    <a:pt x="8568" y="16948"/>
                  </a:lnTo>
                  <a:lnTo>
                    <a:pt x="8382" y="15644"/>
                  </a:lnTo>
                  <a:lnTo>
                    <a:pt x="8257" y="14341"/>
                  </a:lnTo>
                  <a:lnTo>
                    <a:pt x="8195" y="13099"/>
                  </a:lnTo>
                  <a:lnTo>
                    <a:pt x="8257" y="12168"/>
                  </a:lnTo>
                  <a:lnTo>
                    <a:pt x="8320" y="11299"/>
                  </a:lnTo>
                  <a:lnTo>
                    <a:pt x="8444" y="10368"/>
                  </a:lnTo>
                  <a:lnTo>
                    <a:pt x="8630" y="9498"/>
                  </a:lnTo>
                  <a:lnTo>
                    <a:pt x="8940" y="8629"/>
                  </a:lnTo>
                  <a:lnTo>
                    <a:pt x="9251" y="7760"/>
                  </a:lnTo>
                  <a:lnTo>
                    <a:pt x="9747" y="6953"/>
                  </a:lnTo>
                  <a:lnTo>
                    <a:pt x="10244" y="6208"/>
                  </a:lnTo>
                  <a:lnTo>
                    <a:pt x="10865" y="5525"/>
                  </a:lnTo>
                  <a:lnTo>
                    <a:pt x="11548" y="4905"/>
                  </a:lnTo>
                  <a:lnTo>
                    <a:pt x="12355" y="4408"/>
                  </a:lnTo>
                  <a:lnTo>
                    <a:pt x="13162" y="3911"/>
                  </a:lnTo>
                  <a:lnTo>
                    <a:pt x="14093" y="3601"/>
                  </a:lnTo>
                  <a:lnTo>
                    <a:pt x="14962" y="3291"/>
                  </a:lnTo>
                  <a:lnTo>
                    <a:pt x="15893" y="3166"/>
                  </a:lnTo>
                  <a:lnTo>
                    <a:pt x="16824" y="3104"/>
                  </a:lnTo>
                  <a:close/>
                  <a:moveTo>
                    <a:pt x="22722" y="0"/>
                  </a:moveTo>
                  <a:lnTo>
                    <a:pt x="20735" y="62"/>
                  </a:lnTo>
                  <a:lnTo>
                    <a:pt x="18687" y="187"/>
                  </a:lnTo>
                  <a:lnTo>
                    <a:pt x="17631" y="311"/>
                  </a:lnTo>
                  <a:lnTo>
                    <a:pt x="16576" y="497"/>
                  </a:lnTo>
                  <a:lnTo>
                    <a:pt x="15521" y="683"/>
                  </a:lnTo>
                  <a:lnTo>
                    <a:pt x="14465" y="932"/>
                  </a:lnTo>
                  <a:lnTo>
                    <a:pt x="13348" y="1242"/>
                  </a:lnTo>
                  <a:lnTo>
                    <a:pt x="12293" y="1614"/>
                  </a:lnTo>
                  <a:lnTo>
                    <a:pt x="11175" y="1987"/>
                  </a:lnTo>
                  <a:lnTo>
                    <a:pt x="10120" y="2484"/>
                  </a:lnTo>
                  <a:lnTo>
                    <a:pt x="9064" y="3042"/>
                  </a:lnTo>
                  <a:lnTo>
                    <a:pt x="8009" y="3663"/>
                  </a:lnTo>
                  <a:lnTo>
                    <a:pt x="6954" y="4346"/>
                  </a:lnTo>
                  <a:lnTo>
                    <a:pt x="5961" y="5153"/>
                  </a:lnTo>
                  <a:lnTo>
                    <a:pt x="5216" y="5836"/>
                  </a:lnTo>
                  <a:lnTo>
                    <a:pt x="4533" y="6519"/>
                  </a:lnTo>
                  <a:lnTo>
                    <a:pt x="3912" y="7202"/>
                  </a:lnTo>
                  <a:lnTo>
                    <a:pt x="3353" y="7946"/>
                  </a:lnTo>
                  <a:lnTo>
                    <a:pt x="2795" y="8753"/>
                  </a:lnTo>
                  <a:lnTo>
                    <a:pt x="2298" y="9498"/>
                  </a:lnTo>
                  <a:lnTo>
                    <a:pt x="1863" y="10305"/>
                  </a:lnTo>
                  <a:lnTo>
                    <a:pt x="1429" y="11112"/>
                  </a:lnTo>
                  <a:lnTo>
                    <a:pt x="1118" y="11920"/>
                  </a:lnTo>
                  <a:lnTo>
                    <a:pt x="808" y="12727"/>
                  </a:lnTo>
                  <a:lnTo>
                    <a:pt x="560" y="13596"/>
                  </a:lnTo>
                  <a:lnTo>
                    <a:pt x="373" y="14403"/>
                  </a:lnTo>
                  <a:lnTo>
                    <a:pt x="187" y="15210"/>
                  </a:lnTo>
                  <a:lnTo>
                    <a:pt x="63" y="16079"/>
                  </a:lnTo>
                  <a:lnTo>
                    <a:pt x="1" y="16886"/>
                  </a:lnTo>
                  <a:lnTo>
                    <a:pt x="1" y="17693"/>
                  </a:lnTo>
                  <a:lnTo>
                    <a:pt x="63" y="19059"/>
                  </a:lnTo>
                  <a:lnTo>
                    <a:pt x="249" y="20424"/>
                  </a:lnTo>
                  <a:lnTo>
                    <a:pt x="560" y="21728"/>
                  </a:lnTo>
                  <a:lnTo>
                    <a:pt x="994" y="23094"/>
                  </a:lnTo>
                  <a:lnTo>
                    <a:pt x="1553" y="24335"/>
                  </a:lnTo>
                  <a:lnTo>
                    <a:pt x="2298" y="25577"/>
                  </a:lnTo>
                  <a:lnTo>
                    <a:pt x="3105" y="26694"/>
                  </a:lnTo>
                  <a:lnTo>
                    <a:pt x="4036" y="27750"/>
                  </a:lnTo>
                  <a:lnTo>
                    <a:pt x="5091" y="28743"/>
                  </a:lnTo>
                  <a:lnTo>
                    <a:pt x="5650" y="29240"/>
                  </a:lnTo>
                  <a:lnTo>
                    <a:pt x="6209" y="29674"/>
                  </a:lnTo>
                  <a:lnTo>
                    <a:pt x="6830" y="30047"/>
                  </a:lnTo>
                  <a:lnTo>
                    <a:pt x="7513" y="30419"/>
                  </a:lnTo>
                  <a:lnTo>
                    <a:pt x="8195" y="30792"/>
                  </a:lnTo>
                  <a:lnTo>
                    <a:pt x="8878" y="31102"/>
                  </a:lnTo>
                  <a:lnTo>
                    <a:pt x="9623" y="31412"/>
                  </a:lnTo>
                  <a:lnTo>
                    <a:pt x="10368" y="31661"/>
                  </a:lnTo>
                  <a:lnTo>
                    <a:pt x="11175" y="31847"/>
                  </a:lnTo>
                  <a:lnTo>
                    <a:pt x="11982" y="32033"/>
                  </a:lnTo>
                  <a:lnTo>
                    <a:pt x="12851" y="32219"/>
                  </a:lnTo>
                  <a:lnTo>
                    <a:pt x="13720" y="32281"/>
                  </a:lnTo>
                  <a:lnTo>
                    <a:pt x="14590" y="32343"/>
                  </a:lnTo>
                  <a:lnTo>
                    <a:pt x="15521" y="32406"/>
                  </a:lnTo>
                  <a:lnTo>
                    <a:pt x="16949" y="32343"/>
                  </a:lnTo>
                  <a:lnTo>
                    <a:pt x="18501" y="32219"/>
                  </a:lnTo>
                  <a:lnTo>
                    <a:pt x="18128" y="33026"/>
                  </a:lnTo>
                  <a:lnTo>
                    <a:pt x="17880" y="33833"/>
                  </a:lnTo>
                  <a:lnTo>
                    <a:pt x="17631" y="34765"/>
                  </a:lnTo>
                  <a:lnTo>
                    <a:pt x="17569" y="35261"/>
                  </a:lnTo>
                  <a:lnTo>
                    <a:pt x="17569" y="35820"/>
                  </a:lnTo>
                  <a:lnTo>
                    <a:pt x="17631" y="36875"/>
                  </a:lnTo>
                  <a:lnTo>
                    <a:pt x="17818" y="37806"/>
                  </a:lnTo>
                  <a:lnTo>
                    <a:pt x="18128" y="38676"/>
                  </a:lnTo>
                  <a:lnTo>
                    <a:pt x="18501" y="39483"/>
                  </a:lnTo>
                  <a:lnTo>
                    <a:pt x="18935" y="40228"/>
                  </a:lnTo>
                  <a:lnTo>
                    <a:pt x="19370" y="40910"/>
                  </a:lnTo>
                  <a:lnTo>
                    <a:pt x="20363" y="42214"/>
                  </a:lnTo>
                  <a:lnTo>
                    <a:pt x="18625" y="42338"/>
                  </a:lnTo>
                  <a:lnTo>
                    <a:pt x="16638" y="42524"/>
                  </a:lnTo>
                  <a:lnTo>
                    <a:pt x="14403" y="42773"/>
                  </a:lnTo>
                  <a:lnTo>
                    <a:pt x="12044" y="43145"/>
                  </a:lnTo>
                  <a:lnTo>
                    <a:pt x="10803" y="43394"/>
                  </a:lnTo>
                  <a:lnTo>
                    <a:pt x="9623" y="43642"/>
                  </a:lnTo>
                  <a:lnTo>
                    <a:pt x="8382" y="44014"/>
                  </a:lnTo>
                  <a:lnTo>
                    <a:pt x="7140" y="44387"/>
                  </a:lnTo>
                  <a:lnTo>
                    <a:pt x="5961" y="44821"/>
                  </a:lnTo>
                  <a:lnTo>
                    <a:pt x="4781" y="45318"/>
                  </a:lnTo>
                  <a:lnTo>
                    <a:pt x="3602" y="45877"/>
                  </a:lnTo>
                  <a:lnTo>
                    <a:pt x="2484" y="46497"/>
                  </a:lnTo>
                  <a:lnTo>
                    <a:pt x="1491" y="47180"/>
                  </a:lnTo>
                  <a:lnTo>
                    <a:pt x="560" y="47863"/>
                  </a:lnTo>
                  <a:lnTo>
                    <a:pt x="8257" y="47863"/>
                  </a:lnTo>
                  <a:lnTo>
                    <a:pt x="9251" y="47305"/>
                  </a:lnTo>
                  <a:lnTo>
                    <a:pt x="10120" y="46870"/>
                  </a:lnTo>
                  <a:lnTo>
                    <a:pt x="11548" y="46311"/>
                  </a:lnTo>
                  <a:lnTo>
                    <a:pt x="13100" y="45877"/>
                  </a:lnTo>
                  <a:lnTo>
                    <a:pt x="14652" y="45566"/>
                  </a:lnTo>
                  <a:lnTo>
                    <a:pt x="16204" y="45256"/>
                  </a:lnTo>
                  <a:lnTo>
                    <a:pt x="17631" y="45070"/>
                  </a:lnTo>
                  <a:lnTo>
                    <a:pt x="18935" y="44946"/>
                  </a:lnTo>
                  <a:lnTo>
                    <a:pt x="20052" y="44883"/>
                  </a:lnTo>
                  <a:lnTo>
                    <a:pt x="21418" y="44821"/>
                  </a:lnTo>
                  <a:lnTo>
                    <a:pt x="22536" y="44821"/>
                  </a:lnTo>
                  <a:lnTo>
                    <a:pt x="23529" y="44946"/>
                  </a:lnTo>
                  <a:lnTo>
                    <a:pt x="25702" y="46435"/>
                  </a:lnTo>
                  <a:lnTo>
                    <a:pt x="27564" y="47863"/>
                  </a:lnTo>
                  <a:lnTo>
                    <a:pt x="38738" y="47863"/>
                  </a:lnTo>
                  <a:lnTo>
                    <a:pt x="38180" y="46808"/>
                  </a:lnTo>
                  <a:lnTo>
                    <a:pt x="37497" y="45753"/>
                  </a:lnTo>
                  <a:lnTo>
                    <a:pt x="36752" y="44821"/>
                  </a:lnTo>
                  <a:lnTo>
                    <a:pt x="35945" y="43890"/>
                  </a:lnTo>
                  <a:lnTo>
                    <a:pt x="35014" y="43021"/>
                  </a:lnTo>
                  <a:lnTo>
                    <a:pt x="34144" y="42214"/>
                  </a:lnTo>
                  <a:lnTo>
                    <a:pt x="32158" y="40538"/>
                  </a:lnTo>
                  <a:lnTo>
                    <a:pt x="28806" y="37931"/>
                  </a:lnTo>
                  <a:lnTo>
                    <a:pt x="27999" y="37186"/>
                  </a:lnTo>
                  <a:lnTo>
                    <a:pt x="27564" y="36813"/>
                  </a:lnTo>
                  <a:lnTo>
                    <a:pt x="27192" y="36379"/>
                  </a:lnTo>
                  <a:lnTo>
                    <a:pt x="26881" y="35820"/>
                  </a:lnTo>
                  <a:lnTo>
                    <a:pt x="26571" y="35261"/>
                  </a:lnTo>
                  <a:lnTo>
                    <a:pt x="26447" y="34640"/>
                  </a:lnTo>
                  <a:lnTo>
                    <a:pt x="26385" y="33895"/>
                  </a:lnTo>
                  <a:lnTo>
                    <a:pt x="26447" y="33151"/>
                  </a:lnTo>
                  <a:lnTo>
                    <a:pt x="26571" y="32468"/>
                  </a:lnTo>
                  <a:lnTo>
                    <a:pt x="26881" y="31847"/>
                  </a:lnTo>
                  <a:lnTo>
                    <a:pt x="27192" y="31288"/>
                  </a:lnTo>
                  <a:lnTo>
                    <a:pt x="27626" y="30729"/>
                  </a:lnTo>
                  <a:lnTo>
                    <a:pt x="28061" y="30233"/>
                  </a:lnTo>
                  <a:lnTo>
                    <a:pt x="28992" y="29302"/>
                  </a:lnTo>
                  <a:lnTo>
                    <a:pt x="30420" y="28122"/>
                  </a:lnTo>
                  <a:lnTo>
                    <a:pt x="31848" y="26881"/>
                  </a:lnTo>
                  <a:lnTo>
                    <a:pt x="32530" y="26260"/>
                  </a:lnTo>
                  <a:lnTo>
                    <a:pt x="33213" y="25577"/>
                  </a:lnTo>
                  <a:lnTo>
                    <a:pt x="33834" y="24832"/>
                  </a:lnTo>
                  <a:lnTo>
                    <a:pt x="34393" y="24087"/>
                  </a:lnTo>
                  <a:lnTo>
                    <a:pt x="34889" y="23280"/>
                  </a:lnTo>
                  <a:lnTo>
                    <a:pt x="35386" y="22473"/>
                  </a:lnTo>
                  <a:lnTo>
                    <a:pt x="35821" y="21542"/>
                  </a:lnTo>
                  <a:lnTo>
                    <a:pt x="36131" y="20548"/>
                  </a:lnTo>
                  <a:lnTo>
                    <a:pt x="36441" y="19555"/>
                  </a:lnTo>
                  <a:lnTo>
                    <a:pt x="36690" y="18438"/>
                  </a:lnTo>
                  <a:lnTo>
                    <a:pt x="36814" y="17258"/>
                  </a:lnTo>
                  <a:lnTo>
                    <a:pt x="36814" y="16017"/>
                  </a:lnTo>
                  <a:lnTo>
                    <a:pt x="36814" y="14713"/>
                  </a:lnTo>
                  <a:lnTo>
                    <a:pt x="36628" y="13471"/>
                  </a:lnTo>
                  <a:lnTo>
                    <a:pt x="36379" y="12354"/>
                  </a:lnTo>
                  <a:lnTo>
                    <a:pt x="36131" y="11299"/>
                  </a:lnTo>
                  <a:lnTo>
                    <a:pt x="35758" y="10305"/>
                  </a:lnTo>
                  <a:lnTo>
                    <a:pt x="35324" y="9374"/>
                  </a:lnTo>
                  <a:lnTo>
                    <a:pt x="34827" y="8505"/>
                  </a:lnTo>
                  <a:lnTo>
                    <a:pt x="34331" y="7698"/>
                  </a:lnTo>
                  <a:lnTo>
                    <a:pt x="33772" y="6953"/>
                  </a:lnTo>
                  <a:lnTo>
                    <a:pt x="33213" y="6270"/>
                  </a:lnTo>
                  <a:lnTo>
                    <a:pt x="32717" y="5650"/>
                  </a:lnTo>
                  <a:lnTo>
                    <a:pt x="32158" y="5091"/>
                  </a:lnTo>
                  <a:lnTo>
                    <a:pt x="31103" y="4160"/>
                  </a:lnTo>
                  <a:lnTo>
                    <a:pt x="30171" y="3353"/>
                  </a:lnTo>
                  <a:lnTo>
                    <a:pt x="36007" y="3353"/>
                  </a:lnTo>
                  <a:lnTo>
                    <a:pt x="41966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4" name="Shape 184"/>
            <p:cNvSpPr/>
            <p:nvPr/>
          </p:nvSpPr>
          <p:spPr>
            <a:xfrm>
              <a:off x="4484510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839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3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5" y="11734"/>
                  </a:lnTo>
                  <a:lnTo>
                    <a:pt x="34330" y="12665"/>
                  </a:lnTo>
                  <a:lnTo>
                    <a:pt x="34702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3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8" y="33523"/>
                  </a:lnTo>
                  <a:lnTo>
                    <a:pt x="35882" y="34765"/>
                  </a:lnTo>
                  <a:lnTo>
                    <a:pt x="35571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454" y="37186"/>
                  </a:lnTo>
                  <a:lnTo>
                    <a:pt x="34082" y="37683"/>
                  </a:lnTo>
                  <a:lnTo>
                    <a:pt x="33585" y="38241"/>
                  </a:lnTo>
                  <a:lnTo>
                    <a:pt x="33150" y="38738"/>
                  </a:lnTo>
                  <a:lnTo>
                    <a:pt x="32592" y="39173"/>
                  </a:lnTo>
                  <a:lnTo>
                    <a:pt x="32033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7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7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340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8" y="33151"/>
                  </a:lnTo>
                  <a:lnTo>
                    <a:pt x="12292" y="32220"/>
                  </a:lnTo>
                  <a:lnTo>
                    <a:pt x="11857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0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22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29" y="10057"/>
                  </a:lnTo>
                  <a:lnTo>
                    <a:pt x="10740" y="9313"/>
                  </a:lnTo>
                  <a:lnTo>
                    <a:pt x="11174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6" y="6705"/>
                  </a:lnTo>
                  <a:lnTo>
                    <a:pt x="13409" y="6084"/>
                  </a:lnTo>
                  <a:lnTo>
                    <a:pt x="14278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0" y="2918"/>
                  </a:lnTo>
                  <a:lnTo>
                    <a:pt x="21790" y="2856"/>
                  </a:lnTo>
                  <a:close/>
                  <a:moveTo>
                    <a:pt x="22907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699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2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0" y="13968"/>
                  </a:lnTo>
                  <a:lnTo>
                    <a:pt x="1366" y="15024"/>
                  </a:lnTo>
                  <a:lnTo>
                    <a:pt x="1055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248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8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18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0" y="34268"/>
                  </a:lnTo>
                  <a:lnTo>
                    <a:pt x="3849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19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7" y="44698"/>
                  </a:lnTo>
                  <a:lnTo>
                    <a:pt x="22783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2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19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0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79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4945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7" y="23094"/>
                  </a:lnTo>
                  <a:lnTo>
                    <a:pt x="46559" y="22039"/>
                  </a:lnTo>
                  <a:lnTo>
                    <a:pt x="46497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7" y="13844"/>
                  </a:lnTo>
                  <a:lnTo>
                    <a:pt x="44573" y="12851"/>
                  </a:lnTo>
                  <a:lnTo>
                    <a:pt x="44138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447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33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5" name="Shape 185"/>
            <p:cNvSpPr/>
            <p:nvPr/>
          </p:nvSpPr>
          <p:spPr>
            <a:xfrm>
              <a:off x="2482961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901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4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6" y="11734"/>
                  </a:lnTo>
                  <a:lnTo>
                    <a:pt x="34330" y="12665"/>
                  </a:lnTo>
                  <a:lnTo>
                    <a:pt x="34703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4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9" y="33523"/>
                  </a:lnTo>
                  <a:lnTo>
                    <a:pt x="35882" y="34765"/>
                  </a:lnTo>
                  <a:lnTo>
                    <a:pt x="35572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516" y="37186"/>
                  </a:lnTo>
                  <a:lnTo>
                    <a:pt x="34082" y="37683"/>
                  </a:lnTo>
                  <a:lnTo>
                    <a:pt x="33647" y="38241"/>
                  </a:lnTo>
                  <a:lnTo>
                    <a:pt x="33151" y="38738"/>
                  </a:lnTo>
                  <a:lnTo>
                    <a:pt x="32592" y="39173"/>
                  </a:lnTo>
                  <a:lnTo>
                    <a:pt x="32095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8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8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403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9" y="33151"/>
                  </a:lnTo>
                  <a:lnTo>
                    <a:pt x="12354" y="32220"/>
                  </a:lnTo>
                  <a:lnTo>
                    <a:pt x="11920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1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85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30" y="10057"/>
                  </a:lnTo>
                  <a:lnTo>
                    <a:pt x="10740" y="9313"/>
                  </a:lnTo>
                  <a:lnTo>
                    <a:pt x="11175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7" y="6705"/>
                  </a:lnTo>
                  <a:lnTo>
                    <a:pt x="13409" y="6084"/>
                  </a:lnTo>
                  <a:lnTo>
                    <a:pt x="14279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1" y="2918"/>
                  </a:lnTo>
                  <a:lnTo>
                    <a:pt x="21790" y="2856"/>
                  </a:lnTo>
                  <a:close/>
                  <a:moveTo>
                    <a:pt x="22908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700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3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1" y="13968"/>
                  </a:lnTo>
                  <a:lnTo>
                    <a:pt x="1366" y="15024"/>
                  </a:lnTo>
                  <a:lnTo>
                    <a:pt x="1056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311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9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80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1" y="34268"/>
                  </a:lnTo>
                  <a:lnTo>
                    <a:pt x="3911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20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8" y="44698"/>
                  </a:lnTo>
                  <a:lnTo>
                    <a:pt x="22845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3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20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1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80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5008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8" y="23094"/>
                  </a:lnTo>
                  <a:lnTo>
                    <a:pt x="46560" y="22039"/>
                  </a:lnTo>
                  <a:lnTo>
                    <a:pt x="46498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8" y="13844"/>
                  </a:lnTo>
                  <a:lnTo>
                    <a:pt x="44573" y="12851"/>
                  </a:lnTo>
                  <a:lnTo>
                    <a:pt x="44139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510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95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6" name="Shape 186"/>
            <p:cNvSpPr/>
            <p:nvPr/>
          </p:nvSpPr>
          <p:spPr>
            <a:xfrm>
              <a:off x="17169" y="4936221"/>
              <a:ext cx="2309597" cy="2638858"/>
            </a:xfrm>
            <a:custGeom>
              <a:avLst/>
              <a:gdLst/>
              <a:ahLst/>
              <a:cxnLst/>
              <a:rect l="0" t="0" r="0" b="0"/>
              <a:pathLst>
                <a:path w="60528" h="69157" extrusionOk="0">
                  <a:moveTo>
                    <a:pt x="30170" y="1"/>
                  </a:moveTo>
                  <a:lnTo>
                    <a:pt x="27687" y="63"/>
                  </a:lnTo>
                  <a:lnTo>
                    <a:pt x="25266" y="249"/>
                  </a:lnTo>
                  <a:lnTo>
                    <a:pt x="22969" y="559"/>
                  </a:lnTo>
                  <a:lnTo>
                    <a:pt x="20672" y="994"/>
                  </a:lnTo>
                  <a:lnTo>
                    <a:pt x="18500" y="1491"/>
                  </a:lnTo>
                  <a:lnTo>
                    <a:pt x="16451" y="2111"/>
                  </a:lnTo>
                  <a:lnTo>
                    <a:pt x="14402" y="2856"/>
                  </a:lnTo>
                  <a:lnTo>
                    <a:pt x="12478" y="3663"/>
                  </a:lnTo>
                  <a:lnTo>
                    <a:pt x="10616" y="4533"/>
                  </a:lnTo>
                  <a:lnTo>
                    <a:pt x="8815" y="5588"/>
                  </a:lnTo>
                  <a:lnTo>
                    <a:pt x="7139" y="6643"/>
                  </a:lnTo>
                  <a:lnTo>
                    <a:pt x="5525" y="7823"/>
                  </a:lnTo>
                  <a:lnTo>
                    <a:pt x="4035" y="9064"/>
                  </a:lnTo>
                  <a:lnTo>
                    <a:pt x="2607" y="10368"/>
                  </a:lnTo>
                  <a:lnTo>
                    <a:pt x="1242" y="11734"/>
                  </a:lnTo>
                  <a:lnTo>
                    <a:pt x="0" y="13224"/>
                  </a:lnTo>
                  <a:lnTo>
                    <a:pt x="0" y="57238"/>
                  </a:lnTo>
                  <a:lnTo>
                    <a:pt x="1117" y="58541"/>
                  </a:lnTo>
                  <a:lnTo>
                    <a:pt x="2297" y="59721"/>
                  </a:lnTo>
                  <a:lnTo>
                    <a:pt x="3539" y="60900"/>
                  </a:lnTo>
                  <a:lnTo>
                    <a:pt x="4904" y="62018"/>
                  </a:lnTo>
                  <a:lnTo>
                    <a:pt x="6332" y="63073"/>
                  </a:lnTo>
                  <a:lnTo>
                    <a:pt x="7884" y="64004"/>
                  </a:lnTo>
                  <a:lnTo>
                    <a:pt x="9436" y="64935"/>
                  </a:lnTo>
                  <a:lnTo>
                    <a:pt x="11174" y="65742"/>
                  </a:lnTo>
                  <a:lnTo>
                    <a:pt x="12912" y="66549"/>
                  </a:lnTo>
                  <a:lnTo>
                    <a:pt x="14837" y="67170"/>
                  </a:lnTo>
                  <a:lnTo>
                    <a:pt x="16761" y="67729"/>
                  </a:lnTo>
                  <a:lnTo>
                    <a:pt x="18810" y="68226"/>
                  </a:lnTo>
                  <a:lnTo>
                    <a:pt x="20983" y="68598"/>
                  </a:lnTo>
                  <a:lnTo>
                    <a:pt x="23218" y="68908"/>
                  </a:lnTo>
                  <a:lnTo>
                    <a:pt x="25577" y="69095"/>
                  </a:lnTo>
                  <a:lnTo>
                    <a:pt x="27998" y="69157"/>
                  </a:lnTo>
                  <a:lnTo>
                    <a:pt x="29922" y="69095"/>
                  </a:lnTo>
                  <a:lnTo>
                    <a:pt x="31847" y="68970"/>
                  </a:lnTo>
                  <a:lnTo>
                    <a:pt x="33771" y="68846"/>
                  </a:lnTo>
                  <a:lnTo>
                    <a:pt x="35633" y="68660"/>
                  </a:lnTo>
                  <a:lnTo>
                    <a:pt x="39482" y="68163"/>
                  </a:lnTo>
                  <a:lnTo>
                    <a:pt x="43517" y="67543"/>
                  </a:lnTo>
                  <a:lnTo>
                    <a:pt x="56927" y="64439"/>
                  </a:lnTo>
                  <a:lnTo>
                    <a:pt x="56927" y="52954"/>
                  </a:lnTo>
                  <a:lnTo>
                    <a:pt x="56989" y="50657"/>
                  </a:lnTo>
                  <a:lnTo>
                    <a:pt x="57113" y="48484"/>
                  </a:lnTo>
                  <a:lnTo>
                    <a:pt x="57237" y="47988"/>
                  </a:lnTo>
                  <a:lnTo>
                    <a:pt x="57423" y="47615"/>
                  </a:lnTo>
                  <a:lnTo>
                    <a:pt x="57671" y="47305"/>
                  </a:lnTo>
                  <a:lnTo>
                    <a:pt x="58044" y="46932"/>
                  </a:lnTo>
                  <a:lnTo>
                    <a:pt x="60527" y="44636"/>
                  </a:lnTo>
                  <a:lnTo>
                    <a:pt x="40600" y="44636"/>
                  </a:lnTo>
                  <a:lnTo>
                    <a:pt x="33088" y="48671"/>
                  </a:lnTo>
                  <a:lnTo>
                    <a:pt x="47242" y="47926"/>
                  </a:lnTo>
                  <a:lnTo>
                    <a:pt x="47242" y="63011"/>
                  </a:lnTo>
                  <a:lnTo>
                    <a:pt x="45069" y="63880"/>
                  </a:lnTo>
                  <a:lnTo>
                    <a:pt x="43828" y="64252"/>
                  </a:lnTo>
                  <a:lnTo>
                    <a:pt x="42524" y="64625"/>
                  </a:lnTo>
                  <a:lnTo>
                    <a:pt x="41034" y="64935"/>
                  </a:lnTo>
                  <a:lnTo>
                    <a:pt x="39358" y="65184"/>
                  </a:lnTo>
                  <a:lnTo>
                    <a:pt x="37434" y="65308"/>
                  </a:lnTo>
                  <a:lnTo>
                    <a:pt x="35323" y="65370"/>
                  </a:lnTo>
                  <a:lnTo>
                    <a:pt x="33461" y="65308"/>
                  </a:lnTo>
                  <a:lnTo>
                    <a:pt x="31598" y="65184"/>
                  </a:lnTo>
                  <a:lnTo>
                    <a:pt x="29798" y="64935"/>
                  </a:lnTo>
                  <a:lnTo>
                    <a:pt x="27998" y="64625"/>
                  </a:lnTo>
                  <a:lnTo>
                    <a:pt x="26322" y="64190"/>
                  </a:lnTo>
                  <a:lnTo>
                    <a:pt x="24645" y="63694"/>
                  </a:lnTo>
                  <a:lnTo>
                    <a:pt x="23031" y="63135"/>
                  </a:lnTo>
                  <a:lnTo>
                    <a:pt x="21479" y="62514"/>
                  </a:lnTo>
                  <a:lnTo>
                    <a:pt x="19989" y="61769"/>
                  </a:lnTo>
                  <a:lnTo>
                    <a:pt x="18562" y="60962"/>
                  </a:lnTo>
                  <a:lnTo>
                    <a:pt x="17134" y="60093"/>
                  </a:lnTo>
                  <a:lnTo>
                    <a:pt x="15830" y="59162"/>
                  </a:lnTo>
                  <a:lnTo>
                    <a:pt x="14527" y="58169"/>
                  </a:lnTo>
                  <a:lnTo>
                    <a:pt x="13285" y="57113"/>
                  </a:lnTo>
                  <a:lnTo>
                    <a:pt x="12168" y="55996"/>
                  </a:lnTo>
                  <a:lnTo>
                    <a:pt x="11050" y="54879"/>
                  </a:lnTo>
                  <a:lnTo>
                    <a:pt x="9995" y="53637"/>
                  </a:lnTo>
                  <a:lnTo>
                    <a:pt x="9001" y="52395"/>
                  </a:lnTo>
                  <a:lnTo>
                    <a:pt x="8070" y="51030"/>
                  </a:lnTo>
                  <a:lnTo>
                    <a:pt x="7201" y="49726"/>
                  </a:lnTo>
                  <a:lnTo>
                    <a:pt x="6394" y="48298"/>
                  </a:lnTo>
                  <a:lnTo>
                    <a:pt x="5649" y="46870"/>
                  </a:lnTo>
                  <a:lnTo>
                    <a:pt x="5028" y="45380"/>
                  </a:lnTo>
                  <a:lnTo>
                    <a:pt x="4408" y="43891"/>
                  </a:lnTo>
                  <a:lnTo>
                    <a:pt x="3849" y="42339"/>
                  </a:lnTo>
                  <a:lnTo>
                    <a:pt x="3414" y="40787"/>
                  </a:lnTo>
                  <a:lnTo>
                    <a:pt x="2980" y="39235"/>
                  </a:lnTo>
                  <a:lnTo>
                    <a:pt x="2669" y="37621"/>
                  </a:lnTo>
                  <a:lnTo>
                    <a:pt x="2421" y="36007"/>
                  </a:lnTo>
                  <a:lnTo>
                    <a:pt x="2235" y="34393"/>
                  </a:lnTo>
                  <a:lnTo>
                    <a:pt x="2111" y="32716"/>
                  </a:lnTo>
                  <a:lnTo>
                    <a:pt x="2111" y="31102"/>
                  </a:lnTo>
                  <a:lnTo>
                    <a:pt x="2111" y="29550"/>
                  </a:lnTo>
                  <a:lnTo>
                    <a:pt x="2235" y="28060"/>
                  </a:lnTo>
                  <a:lnTo>
                    <a:pt x="2359" y="26633"/>
                  </a:lnTo>
                  <a:lnTo>
                    <a:pt x="2607" y="25205"/>
                  </a:lnTo>
                  <a:lnTo>
                    <a:pt x="2856" y="23777"/>
                  </a:lnTo>
                  <a:lnTo>
                    <a:pt x="3228" y="22411"/>
                  </a:lnTo>
                  <a:lnTo>
                    <a:pt x="3601" y="21108"/>
                  </a:lnTo>
                  <a:lnTo>
                    <a:pt x="4035" y="19804"/>
                  </a:lnTo>
                  <a:lnTo>
                    <a:pt x="4594" y="18562"/>
                  </a:lnTo>
                  <a:lnTo>
                    <a:pt x="5153" y="17383"/>
                  </a:lnTo>
                  <a:lnTo>
                    <a:pt x="5773" y="16203"/>
                  </a:lnTo>
                  <a:lnTo>
                    <a:pt x="6394" y="15086"/>
                  </a:lnTo>
                  <a:lnTo>
                    <a:pt x="7139" y="14031"/>
                  </a:lnTo>
                  <a:lnTo>
                    <a:pt x="7884" y="12975"/>
                  </a:lnTo>
                  <a:lnTo>
                    <a:pt x="8691" y="12044"/>
                  </a:lnTo>
                  <a:lnTo>
                    <a:pt x="9560" y="11051"/>
                  </a:lnTo>
                  <a:lnTo>
                    <a:pt x="10429" y="10182"/>
                  </a:lnTo>
                  <a:lnTo>
                    <a:pt x="11360" y="9375"/>
                  </a:lnTo>
                  <a:lnTo>
                    <a:pt x="12354" y="8568"/>
                  </a:lnTo>
                  <a:lnTo>
                    <a:pt x="13347" y="7823"/>
                  </a:lnTo>
                  <a:lnTo>
                    <a:pt x="14402" y="7140"/>
                  </a:lnTo>
                  <a:lnTo>
                    <a:pt x="15520" y="6519"/>
                  </a:lnTo>
                  <a:lnTo>
                    <a:pt x="16637" y="5898"/>
                  </a:lnTo>
                  <a:lnTo>
                    <a:pt x="17755" y="5402"/>
                  </a:lnTo>
                  <a:lnTo>
                    <a:pt x="18996" y="4967"/>
                  </a:lnTo>
                  <a:lnTo>
                    <a:pt x="20176" y="4533"/>
                  </a:lnTo>
                  <a:lnTo>
                    <a:pt x="21417" y="4160"/>
                  </a:lnTo>
                  <a:lnTo>
                    <a:pt x="22721" y="3912"/>
                  </a:lnTo>
                  <a:lnTo>
                    <a:pt x="24025" y="3663"/>
                  </a:lnTo>
                  <a:lnTo>
                    <a:pt x="25390" y="3539"/>
                  </a:lnTo>
                  <a:lnTo>
                    <a:pt x="26694" y="3415"/>
                  </a:lnTo>
                  <a:lnTo>
                    <a:pt x="28122" y="3415"/>
                  </a:lnTo>
                  <a:lnTo>
                    <a:pt x="30108" y="3477"/>
                  </a:lnTo>
                  <a:lnTo>
                    <a:pt x="32033" y="3663"/>
                  </a:lnTo>
                  <a:lnTo>
                    <a:pt x="33771" y="3912"/>
                  </a:lnTo>
                  <a:lnTo>
                    <a:pt x="35447" y="4346"/>
                  </a:lnTo>
                  <a:lnTo>
                    <a:pt x="36999" y="4781"/>
                  </a:lnTo>
                  <a:lnTo>
                    <a:pt x="38489" y="5340"/>
                  </a:lnTo>
                  <a:lnTo>
                    <a:pt x="39855" y="5960"/>
                  </a:lnTo>
                  <a:lnTo>
                    <a:pt x="41096" y="6643"/>
                  </a:lnTo>
                  <a:lnTo>
                    <a:pt x="42276" y="7326"/>
                  </a:lnTo>
                  <a:lnTo>
                    <a:pt x="43331" y="8071"/>
                  </a:lnTo>
                  <a:lnTo>
                    <a:pt x="44324" y="8816"/>
                  </a:lnTo>
                  <a:lnTo>
                    <a:pt x="45256" y="9499"/>
                  </a:lnTo>
                  <a:lnTo>
                    <a:pt x="46870" y="10927"/>
                  </a:lnTo>
                  <a:lnTo>
                    <a:pt x="48173" y="12230"/>
                  </a:lnTo>
                  <a:lnTo>
                    <a:pt x="45876" y="15955"/>
                  </a:lnTo>
                  <a:lnTo>
                    <a:pt x="49167" y="15210"/>
                  </a:lnTo>
                  <a:lnTo>
                    <a:pt x="56927" y="7823"/>
                  </a:lnTo>
                  <a:lnTo>
                    <a:pt x="55126" y="6581"/>
                  </a:lnTo>
                  <a:lnTo>
                    <a:pt x="53947" y="5836"/>
                  </a:lnTo>
                  <a:lnTo>
                    <a:pt x="52581" y="5091"/>
                  </a:lnTo>
                  <a:lnTo>
                    <a:pt x="51029" y="4346"/>
                  </a:lnTo>
                  <a:lnTo>
                    <a:pt x="49167" y="3539"/>
                  </a:lnTo>
                  <a:lnTo>
                    <a:pt x="46994" y="2732"/>
                  </a:lnTo>
                  <a:lnTo>
                    <a:pt x="44511" y="1987"/>
                  </a:lnTo>
                  <a:lnTo>
                    <a:pt x="42835" y="1553"/>
                  </a:lnTo>
                  <a:lnTo>
                    <a:pt x="41158" y="1180"/>
                  </a:lnTo>
                  <a:lnTo>
                    <a:pt x="39358" y="808"/>
                  </a:lnTo>
                  <a:lnTo>
                    <a:pt x="37620" y="559"/>
                  </a:lnTo>
                  <a:lnTo>
                    <a:pt x="35758" y="311"/>
                  </a:lnTo>
                  <a:lnTo>
                    <a:pt x="33957" y="125"/>
                  </a:lnTo>
                  <a:lnTo>
                    <a:pt x="32033" y="63"/>
                  </a:lnTo>
                  <a:lnTo>
                    <a:pt x="30170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7" name="Shape 187"/>
            <p:cNvSpPr/>
            <p:nvPr/>
          </p:nvSpPr>
          <p:spPr>
            <a:xfrm>
              <a:off x="8013824" y="4853348"/>
              <a:ext cx="945199" cy="2534611"/>
            </a:xfrm>
            <a:custGeom>
              <a:avLst/>
              <a:gdLst/>
              <a:ahLst/>
              <a:cxnLst/>
              <a:rect l="0" t="0" r="0" b="0"/>
              <a:pathLst>
                <a:path w="24771" h="66425" extrusionOk="0">
                  <a:moveTo>
                    <a:pt x="7078" y="0"/>
                  </a:moveTo>
                  <a:lnTo>
                    <a:pt x="1" y="3414"/>
                  </a:lnTo>
                  <a:lnTo>
                    <a:pt x="7202" y="3414"/>
                  </a:lnTo>
                  <a:lnTo>
                    <a:pt x="7202" y="58354"/>
                  </a:lnTo>
                  <a:lnTo>
                    <a:pt x="7202" y="61458"/>
                  </a:lnTo>
                  <a:lnTo>
                    <a:pt x="7202" y="62079"/>
                  </a:lnTo>
                  <a:lnTo>
                    <a:pt x="7140" y="62638"/>
                  </a:lnTo>
                  <a:lnTo>
                    <a:pt x="6954" y="63134"/>
                  </a:lnTo>
                  <a:lnTo>
                    <a:pt x="6768" y="63569"/>
                  </a:lnTo>
                  <a:lnTo>
                    <a:pt x="6395" y="64128"/>
                  </a:lnTo>
                  <a:lnTo>
                    <a:pt x="5961" y="64748"/>
                  </a:lnTo>
                  <a:lnTo>
                    <a:pt x="4657" y="66424"/>
                  </a:lnTo>
                  <a:lnTo>
                    <a:pt x="21294" y="66424"/>
                  </a:lnTo>
                  <a:lnTo>
                    <a:pt x="24771" y="64376"/>
                  </a:lnTo>
                  <a:lnTo>
                    <a:pt x="22349" y="64128"/>
                  </a:lnTo>
                  <a:lnTo>
                    <a:pt x="19990" y="63879"/>
                  </a:lnTo>
                  <a:lnTo>
                    <a:pt x="18935" y="63755"/>
                  </a:lnTo>
                  <a:lnTo>
                    <a:pt x="18066" y="63569"/>
                  </a:lnTo>
                  <a:lnTo>
                    <a:pt x="17756" y="63445"/>
                  </a:lnTo>
                  <a:lnTo>
                    <a:pt x="17445" y="63321"/>
                  </a:lnTo>
                  <a:lnTo>
                    <a:pt x="17135" y="63134"/>
                  </a:lnTo>
                  <a:lnTo>
                    <a:pt x="16949" y="62886"/>
                  </a:lnTo>
                  <a:lnTo>
                    <a:pt x="16762" y="62638"/>
                  </a:lnTo>
                  <a:lnTo>
                    <a:pt x="16576" y="62327"/>
                  </a:lnTo>
                  <a:lnTo>
                    <a:pt x="16452" y="62017"/>
                  </a:lnTo>
                  <a:lnTo>
                    <a:pt x="16390" y="61582"/>
                  </a:lnTo>
                  <a:lnTo>
                    <a:pt x="16266" y="60651"/>
                  </a:lnTo>
                  <a:lnTo>
                    <a:pt x="16204" y="59410"/>
                  </a:lnTo>
                  <a:lnTo>
                    <a:pt x="16204" y="58354"/>
                  </a:lnTo>
                  <a:lnTo>
                    <a:pt x="16204" y="6146"/>
                  </a:lnTo>
                  <a:lnTo>
                    <a:pt x="16266" y="5587"/>
                  </a:lnTo>
                  <a:lnTo>
                    <a:pt x="16452" y="4470"/>
                  </a:lnTo>
                  <a:lnTo>
                    <a:pt x="16700" y="3539"/>
                  </a:lnTo>
                  <a:lnTo>
                    <a:pt x="17011" y="2794"/>
                  </a:lnTo>
                  <a:lnTo>
                    <a:pt x="17445" y="2173"/>
                  </a:lnTo>
                  <a:lnTo>
                    <a:pt x="18004" y="1676"/>
                  </a:lnTo>
                  <a:lnTo>
                    <a:pt x="18687" y="1117"/>
                  </a:lnTo>
                  <a:lnTo>
                    <a:pt x="19494" y="621"/>
                  </a:lnTo>
                  <a:lnTo>
                    <a:pt x="20487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88" name="Shape 188"/>
            <p:cNvSpPr/>
            <p:nvPr/>
          </p:nvSpPr>
          <p:spPr>
            <a:xfrm>
              <a:off x="8985007" y="5743946"/>
              <a:ext cx="1165482" cy="1712661"/>
            </a:xfrm>
            <a:custGeom>
              <a:avLst/>
              <a:gdLst/>
              <a:ahLst/>
              <a:cxnLst/>
              <a:rect l="0" t="0" r="0" b="0"/>
              <a:pathLst>
                <a:path w="30544" h="44884" extrusionOk="0">
                  <a:moveTo>
                    <a:pt x="18748" y="3105"/>
                  </a:moveTo>
                  <a:lnTo>
                    <a:pt x="19679" y="3167"/>
                  </a:lnTo>
                  <a:lnTo>
                    <a:pt x="20549" y="3291"/>
                  </a:lnTo>
                  <a:lnTo>
                    <a:pt x="21480" y="3539"/>
                  </a:lnTo>
                  <a:lnTo>
                    <a:pt x="22287" y="3788"/>
                  </a:lnTo>
                  <a:lnTo>
                    <a:pt x="23094" y="4222"/>
                  </a:lnTo>
                  <a:lnTo>
                    <a:pt x="23839" y="4657"/>
                  </a:lnTo>
                  <a:lnTo>
                    <a:pt x="24584" y="5153"/>
                  </a:lnTo>
                  <a:lnTo>
                    <a:pt x="25267" y="5712"/>
                  </a:lnTo>
                  <a:lnTo>
                    <a:pt x="25825" y="6271"/>
                  </a:lnTo>
                  <a:lnTo>
                    <a:pt x="26384" y="6954"/>
                  </a:lnTo>
                  <a:lnTo>
                    <a:pt x="26819" y="7574"/>
                  </a:lnTo>
                  <a:lnTo>
                    <a:pt x="27253" y="8257"/>
                  </a:lnTo>
                  <a:lnTo>
                    <a:pt x="27564" y="9002"/>
                  </a:lnTo>
                  <a:lnTo>
                    <a:pt x="27750" y="9685"/>
                  </a:lnTo>
                  <a:lnTo>
                    <a:pt x="27936" y="10430"/>
                  </a:lnTo>
                  <a:lnTo>
                    <a:pt x="27998" y="11113"/>
                  </a:lnTo>
                  <a:lnTo>
                    <a:pt x="27936" y="11547"/>
                  </a:lnTo>
                  <a:lnTo>
                    <a:pt x="27812" y="11982"/>
                  </a:lnTo>
                  <a:lnTo>
                    <a:pt x="27564" y="12292"/>
                  </a:lnTo>
                  <a:lnTo>
                    <a:pt x="27253" y="12603"/>
                  </a:lnTo>
                  <a:lnTo>
                    <a:pt x="26881" y="12913"/>
                  </a:lnTo>
                  <a:lnTo>
                    <a:pt x="26446" y="13161"/>
                  </a:lnTo>
                  <a:lnTo>
                    <a:pt x="25267" y="13658"/>
                  </a:lnTo>
                  <a:lnTo>
                    <a:pt x="8319" y="20983"/>
                  </a:lnTo>
                  <a:lnTo>
                    <a:pt x="8133" y="18500"/>
                  </a:lnTo>
                  <a:lnTo>
                    <a:pt x="8009" y="17259"/>
                  </a:lnTo>
                  <a:lnTo>
                    <a:pt x="8009" y="16079"/>
                  </a:lnTo>
                  <a:lnTo>
                    <a:pt x="8009" y="15148"/>
                  </a:lnTo>
                  <a:lnTo>
                    <a:pt x="8071" y="14279"/>
                  </a:lnTo>
                  <a:lnTo>
                    <a:pt x="8195" y="13410"/>
                  </a:lnTo>
                  <a:lnTo>
                    <a:pt x="8319" y="12603"/>
                  </a:lnTo>
                  <a:lnTo>
                    <a:pt x="8505" y="11858"/>
                  </a:lnTo>
                  <a:lnTo>
                    <a:pt x="8691" y="11113"/>
                  </a:lnTo>
                  <a:lnTo>
                    <a:pt x="8878" y="10430"/>
                  </a:lnTo>
                  <a:lnTo>
                    <a:pt x="9188" y="9809"/>
                  </a:lnTo>
                  <a:lnTo>
                    <a:pt x="9436" y="9188"/>
                  </a:lnTo>
                  <a:lnTo>
                    <a:pt x="9747" y="8568"/>
                  </a:lnTo>
                  <a:lnTo>
                    <a:pt x="10430" y="7512"/>
                  </a:lnTo>
                  <a:lnTo>
                    <a:pt x="11175" y="6581"/>
                  </a:lnTo>
                  <a:lnTo>
                    <a:pt x="11982" y="5774"/>
                  </a:lnTo>
                  <a:lnTo>
                    <a:pt x="12789" y="5091"/>
                  </a:lnTo>
                  <a:lnTo>
                    <a:pt x="13720" y="4532"/>
                  </a:lnTo>
                  <a:lnTo>
                    <a:pt x="14589" y="4098"/>
                  </a:lnTo>
                  <a:lnTo>
                    <a:pt x="15458" y="3725"/>
                  </a:lnTo>
                  <a:lnTo>
                    <a:pt x="16327" y="3415"/>
                  </a:lnTo>
                  <a:lnTo>
                    <a:pt x="17196" y="3229"/>
                  </a:lnTo>
                  <a:lnTo>
                    <a:pt x="18003" y="3105"/>
                  </a:lnTo>
                  <a:close/>
                  <a:moveTo>
                    <a:pt x="21356" y="1"/>
                  </a:moveTo>
                  <a:lnTo>
                    <a:pt x="20424" y="63"/>
                  </a:lnTo>
                  <a:lnTo>
                    <a:pt x="19493" y="125"/>
                  </a:lnTo>
                  <a:lnTo>
                    <a:pt x="18624" y="187"/>
                  </a:lnTo>
                  <a:lnTo>
                    <a:pt x="17693" y="373"/>
                  </a:lnTo>
                  <a:lnTo>
                    <a:pt x="16762" y="559"/>
                  </a:lnTo>
                  <a:lnTo>
                    <a:pt x="15831" y="746"/>
                  </a:lnTo>
                  <a:lnTo>
                    <a:pt x="14899" y="1056"/>
                  </a:lnTo>
                  <a:lnTo>
                    <a:pt x="13968" y="1366"/>
                  </a:lnTo>
                  <a:lnTo>
                    <a:pt x="13037" y="1677"/>
                  </a:lnTo>
                  <a:lnTo>
                    <a:pt x="12106" y="2111"/>
                  </a:lnTo>
                  <a:lnTo>
                    <a:pt x="11237" y="2546"/>
                  </a:lnTo>
                  <a:lnTo>
                    <a:pt x="10368" y="3043"/>
                  </a:lnTo>
                  <a:lnTo>
                    <a:pt x="9498" y="3539"/>
                  </a:lnTo>
                  <a:lnTo>
                    <a:pt x="8691" y="4098"/>
                  </a:lnTo>
                  <a:lnTo>
                    <a:pt x="7884" y="4719"/>
                  </a:lnTo>
                  <a:lnTo>
                    <a:pt x="7077" y="5339"/>
                  </a:lnTo>
                  <a:lnTo>
                    <a:pt x="6332" y="6084"/>
                  </a:lnTo>
                  <a:lnTo>
                    <a:pt x="5588" y="6767"/>
                  </a:lnTo>
                  <a:lnTo>
                    <a:pt x="4905" y="7574"/>
                  </a:lnTo>
                  <a:lnTo>
                    <a:pt x="4222" y="8381"/>
                  </a:lnTo>
                  <a:lnTo>
                    <a:pt x="3601" y="9250"/>
                  </a:lnTo>
                  <a:lnTo>
                    <a:pt x="2980" y="10182"/>
                  </a:lnTo>
                  <a:lnTo>
                    <a:pt x="2484" y="11113"/>
                  </a:lnTo>
                  <a:lnTo>
                    <a:pt x="1987" y="12106"/>
                  </a:lnTo>
                  <a:lnTo>
                    <a:pt x="1552" y="13099"/>
                  </a:lnTo>
                  <a:lnTo>
                    <a:pt x="1118" y="14217"/>
                  </a:lnTo>
                  <a:lnTo>
                    <a:pt x="807" y="15334"/>
                  </a:lnTo>
                  <a:lnTo>
                    <a:pt x="497" y="16452"/>
                  </a:lnTo>
                  <a:lnTo>
                    <a:pt x="311" y="17693"/>
                  </a:lnTo>
                  <a:lnTo>
                    <a:pt x="125" y="18935"/>
                  </a:lnTo>
                  <a:lnTo>
                    <a:pt x="0" y="20238"/>
                  </a:lnTo>
                  <a:lnTo>
                    <a:pt x="0" y="21542"/>
                  </a:lnTo>
                  <a:lnTo>
                    <a:pt x="0" y="22908"/>
                  </a:lnTo>
                  <a:lnTo>
                    <a:pt x="125" y="24211"/>
                  </a:lnTo>
                  <a:lnTo>
                    <a:pt x="311" y="25577"/>
                  </a:lnTo>
                  <a:lnTo>
                    <a:pt x="559" y="26943"/>
                  </a:lnTo>
                  <a:lnTo>
                    <a:pt x="870" y="28309"/>
                  </a:lnTo>
                  <a:lnTo>
                    <a:pt x="1242" y="29612"/>
                  </a:lnTo>
                  <a:lnTo>
                    <a:pt x="1739" y="30978"/>
                  </a:lnTo>
                  <a:lnTo>
                    <a:pt x="2235" y="32282"/>
                  </a:lnTo>
                  <a:lnTo>
                    <a:pt x="2856" y="33585"/>
                  </a:lnTo>
                  <a:lnTo>
                    <a:pt x="3601" y="34827"/>
                  </a:lnTo>
                  <a:lnTo>
                    <a:pt x="4346" y="36006"/>
                  </a:lnTo>
                  <a:lnTo>
                    <a:pt x="5215" y="37186"/>
                  </a:lnTo>
                  <a:lnTo>
                    <a:pt x="6146" y="38303"/>
                  </a:lnTo>
                  <a:lnTo>
                    <a:pt x="7202" y="39359"/>
                  </a:lnTo>
                  <a:lnTo>
                    <a:pt x="8319" y="40352"/>
                  </a:lnTo>
                  <a:lnTo>
                    <a:pt x="9498" y="41221"/>
                  </a:lnTo>
                  <a:lnTo>
                    <a:pt x="10368" y="41842"/>
                  </a:lnTo>
                  <a:lnTo>
                    <a:pt x="11299" y="42401"/>
                  </a:lnTo>
                  <a:lnTo>
                    <a:pt x="12168" y="42835"/>
                  </a:lnTo>
                  <a:lnTo>
                    <a:pt x="13037" y="43270"/>
                  </a:lnTo>
                  <a:lnTo>
                    <a:pt x="13906" y="43580"/>
                  </a:lnTo>
                  <a:lnTo>
                    <a:pt x="14713" y="43891"/>
                  </a:lnTo>
                  <a:lnTo>
                    <a:pt x="15582" y="44139"/>
                  </a:lnTo>
                  <a:lnTo>
                    <a:pt x="16389" y="44325"/>
                  </a:lnTo>
                  <a:lnTo>
                    <a:pt x="17941" y="44635"/>
                  </a:lnTo>
                  <a:lnTo>
                    <a:pt x="19369" y="44822"/>
                  </a:lnTo>
                  <a:lnTo>
                    <a:pt x="20735" y="44884"/>
                  </a:lnTo>
                  <a:lnTo>
                    <a:pt x="22908" y="44884"/>
                  </a:lnTo>
                  <a:lnTo>
                    <a:pt x="23963" y="44822"/>
                  </a:lnTo>
                  <a:lnTo>
                    <a:pt x="25018" y="44698"/>
                  </a:lnTo>
                  <a:lnTo>
                    <a:pt x="26136" y="44573"/>
                  </a:lnTo>
                  <a:lnTo>
                    <a:pt x="27191" y="44325"/>
                  </a:lnTo>
                  <a:lnTo>
                    <a:pt x="28308" y="44077"/>
                  </a:lnTo>
                  <a:lnTo>
                    <a:pt x="29426" y="43704"/>
                  </a:lnTo>
                  <a:lnTo>
                    <a:pt x="30543" y="43270"/>
                  </a:lnTo>
                  <a:lnTo>
                    <a:pt x="30543" y="39793"/>
                  </a:lnTo>
                  <a:lnTo>
                    <a:pt x="29115" y="39980"/>
                  </a:lnTo>
                  <a:lnTo>
                    <a:pt x="27564" y="40042"/>
                  </a:lnTo>
                  <a:lnTo>
                    <a:pt x="26756" y="39980"/>
                  </a:lnTo>
                  <a:lnTo>
                    <a:pt x="25949" y="39917"/>
                  </a:lnTo>
                  <a:lnTo>
                    <a:pt x="25142" y="39855"/>
                  </a:lnTo>
                  <a:lnTo>
                    <a:pt x="24335" y="39731"/>
                  </a:lnTo>
                  <a:lnTo>
                    <a:pt x="23528" y="39545"/>
                  </a:lnTo>
                  <a:lnTo>
                    <a:pt x="22721" y="39297"/>
                  </a:lnTo>
                  <a:lnTo>
                    <a:pt x="21976" y="39048"/>
                  </a:lnTo>
                  <a:lnTo>
                    <a:pt x="21169" y="38738"/>
                  </a:lnTo>
                  <a:lnTo>
                    <a:pt x="20424" y="38428"/>
                  </a:lnTo>
                  <a:lnTo>
                    <a:pt x="19679" y="38055"/>
                  </a:lnTo>
                  <a:lnTo>
                    <a:pt x="18935" y="37683"/>
                  </a:lnTo>
                  <a:lnTo>
                    <a:pt x="18252" y="37186"/>
                  </a:lnTo>
                  <a:lnTo>
                    <a:pt x="17507" y="36751"/>
                  </a:lnTo>
                  <a:lnTo>
                    <a:pt x="16824" y="36255"/>
                  </a:lnTo>
                  <a:lnTo>
                    <a:pt x="16203" y="35696"/>
                  </a:lnTo>
                  <a:lnTo>
                    <a:pt x="15520" y="35075"/>
                  </a:lnTo>
                  <a:lnTo>
                    <a:pt x="14899" y="34455"/>
                  </a:lnTo>
                  <a:lnTo>
                    <a:pt x="14279" y="33834"/>
                  </a:lnTo>
                  <a:lnTo>
                    <a:pt x="13720" y="33151"/>
                  </a:lnTo>
                  <a:lnTo>
                    <a:pt x="13161" y="32406"/>
                  </a:lnTo>
                  <a:lnTo>
                    <a:pt x="12602" y="31661"/>
                  </a:lnTo>
                  <a:lnTo>
                    <a:pt x="12106" y="30854"/>
                  </a:lnTo>
                  <a:lnTo>
                    <a:pt x="11609" y="30047"/>
                  </a:lnTo>
                  <a:lnTo>
                    <a:pt x="11113" y="29178"/>
                  </a:lnTo>
                  <a:lnTo>
                    <a:pt x="10678" y="28309"/>
                  </a:lnTo>
                  <a:lnTo>
                    <a:pt x="10243" y="27378"/>
                  </a:lnTo>
                  <a:lnTo>
                    <a:pt x="9871" y="26446"/>
                  </a:lnTo>
                  <a:lnTo>
                    <a:pt x="9498" y="25453"/>
                  </a:lnTo>
                  <a:lnTo>
                    <a:pt x="9188" y="24460"/>
                  </a:lnTo>
                  <a:lnTo>
                    <a:pt x="8878" y="23467"/>
                  </a:lnTo>
                  <a:lnTo>
                    <a:pt x="8629" y="22349"/>
                  </a:lnTo>
                  <a:lnTo>
                    <a:pt x="8381" y="21294"/>
                  </a:lnTo>
                  <a:lnTo>
                    <a:pt x="15582" y="20735"/>
                  </a:lnTo>
                  <a:lnTo>
                    <a:pt x="30543" y="14651"/>
                  </a:lnTo>
                  <a:lnTo>
                    <a:pt x="30543" y="2360"/>
                  </a:lnTo>
                  <a:lnTo>
                    <a:pt x="29488" y="1801"/>
                  </a:lnTo>
                  <a:lnTo>
                    <a:pt x="28371" y="1304"/>
                  </a:lnTo>
                  <a:lnTo>
                    <a:pt x="27253" y="932"/>
                  </a:lnTo>
                  <a:lnTo>
                    <a:pt x="26136" y="621"/>
                  </a:lnTo>
                  <a:lnTo>
                    <a:pt x="24956" y="311"/>
                  </a:lnTo>
                  <a:lnTo>
                    <a:pt x="23715" y="187"/>
                  </a:lnTo>
                  <a:lnTo>
                    <a:pt x="22535" y="63"/>
                  </a:lnTo>
                  <a:lnTo>
                    <a:pt x="21356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sp>
        <p:nvSpPr>
          <p:cNvPr id="189" name="Shape 189"/>
          <p:cNvSpPr/>
          <p:nvPr/>
        </p:nvSpPr>
        <p:spPr>
          <a:xfrm>
            <a:off x="5788151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parator (Yellow)">
  <p:cSld name="Separator (Yellow)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Shape 191"/>
          <p:cNvSpPr txBox="1">
            <a:spLocks noGrp="1"/>
          </p:cNvSpPr>
          <p:nvPr>
            <p:ph type="ctrTitle"/>
          </p:nvPr>
        </p:nvSpPr>
        <p:spPr>
          <a:xfrm>
            <a:off x="2871958" y="2286000"/>
            <a:ext cx="5586300" cy="109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2" name="Shape 192"/>
          <p:cNvSpPr txBox="1">
            <a:spLocks noGrp="1"/>
          </p:cNvSpPr>
          <p:nvPr>
            <p:ph type="subTitle" idx="1"/>
          </p:nvPr>
        </p:nvSpPr>
        <p:spPr>
          <a:xfrm>
            <a:off x="2871958" y="3352800"/>
            <a:ext cx="5586300" cy="1752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88900" algn="l" rtl="0">
              <a:spcBef>
                <a:spcPts val="0"/>
              </a:spcBef>
              <a:buClr>
                <a:schemeClr val="lt1"/>
              </a:buClr>
              <a:buSzPct val="100000"/>
              <a:buFont typeface="Arial"/>
              <a:buNone/>
              <a:defRPr sz="14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93" name="Shape 193"/>
          <p:cNvCxnSpPr/>
          <p:nvPr/>
        </p:nvCxnSpPr>
        <p:spPr>
          <a:xfrm>
            <a:off x="2864216" y="3382298"/>
            <a:ext cx="6279900" cy="0"/>
          </a:xfrm>
          <a:prstGeom prst="straightConnector1">
            <a:avLst/>
          </a:prstGeom>
          <a:noFill/>
          <a:ln w="9525" cap="flat">
            <a:solidFill>
              <a:srgbClr val="CCCCCC"/>
            </a:solidFill>
            <a:prstDash val="dash"/>
            <a:round/>
            <a:headEnd type="none" w="lg" len="lg"/>
            <a:tailEnd type="none" w="lg" len="lg"/>
          </a:ln>
        </p:spPr>
      </p:cxnSp>
      <p:grpSp>
        <p:nvGrpSpPr>
          <p:cNvPr id="194" name="Shape 194"/>
          <p:cNvGrpSpPr/>
          <p:nvPr/>
        </p:nvGrpSpPr>
        <p:grpSpPr>
          <a:xfrm>
            <a:off x="0" y="4361807"/>
            <a:ext cx="9144308" cy="2491988"/>
            <a:chOff x="17169" y="4853348"/>
            <a:chExt cx="10133320" cy="2766724"/>
          </a:xfrm>
        </p:grpSpPr>
        <p:sp>
          <p:nvSpPr>
            <p:cNvPr id="195" name="Shape 195"/>
            <p:cNvSpPr/>
            <p:nvPr/>
          </p:nvSpPr>
          <p:spPr>
            <a:xfrm>
              <a:off x="6455228" y="5793701"/>
              <a:ext cx="1601355" cy="1826370"/>
            </a:xfrm>
            <a:custGeom>
              <a:avLst/>
              <a:gdLst/>
              <a:ahLst/>
              <a:cxnLst/>
              <a:rect l="0" t="0" r="0" b="0"/>
              <a:pathLst>
                <a:path w="41967" h="47864" extrusionOk="0">
                  <a:moveTo>
                    <a:pt x="17507" y="3104"/>
                  </a:moveTo>
                  <a:lnTo>
                    <a:pt x="18252" y="3228"/>
                  </a:lnTo>
                  <a:lnTo>
                    <a:pt x="18873" y="3353"/>
                  </a:lnTo>
                  <a:lnTo>
                    <a:pt x="19556" y="3539"/>
                  </a:lnTo>
                  <a:lnTo>
                    <a:pt x="20177" y="3787"/>
                  </a:lnTo>
                  <a:lnTo>
                    <a:pt x="20797" y="4098"/>
                  </a:lnTo>
                  <a:lnTo>
                    <a:pt x="21356" y="4470"/>
                  </a:lnTo>
                  <a:lnTo>
                    <a:pt x="21915" y="4843"/>
                  </a:lnTo>
                  <a:lnTo>
                    <a:pt x="22474" y="5277"/>
                  </a:lnTo>
                  <a:lnTo>
                    <a:pt x="22970" y="5712"/>
                  </a:lnTo>
                  <a:lnTo>
                    <a:pt x="23467" y="6208"/>
                  </a:lnTo>
                  <a:lnTo>
                    <a:pt x="23963" y="6767"/>
                  </a:lnTo>
                  <a:lnTo>
                    <a:pt x="24833" y="7946"/>
                  </a:lnTo>
                  <a:lnTo>
                    <a:pt x="25640" y="9188"/>
                  </a:lnTo>
                  <a:lnTo>
                    <a:pt x="26322" y="10492"/>
                  </a:lnTo>
                  <a:lnTo>
                    <a:pt x="26943" y="11920"/>
                  </a:lnTo>
                  <a:lnTo>
                    <a:pt x="27440" y="13347"/>
                  </a:lnTo>
                  <a:lnTo>
                    <a:pt x="27874" y="14775"/>
                  </a:lnTo>
                  <a:lnTo>
                    <a:pt x="28185" y="16203"/>
                  </a:lnTo>
                  <a:lnTo>
                    <a:pt x="28433" y="17631"/>
                  </a:lnTo>
                  <a:lnTo>
                    <a:pt x="28557" y="18997"/>
                  </a:lnTo>
                  <a:lnTo>
                    <a:pt x="28619" y="20300"/>
                  </a:lnTo>
                  <a:lnTo>
                    <a:pt x="28619" y="20983"/>
                  </a:lnTo>
                  <a:lnTo>
                    <a:pt x="28557" y="21790"/>
                  </a:lnTo>
                  <a:lnTo>
                    <a:pt x="28433" y="22659"/>
                  </a:lnTo>
                  <a:lnTo>
                    <a:pt x="28247" y="23528"/>
                  </a:lnTo>
                  <a:lnTo>
                    <a:pt x="27937" y="24459"/>
                  </a:lnTo>
                  <a:lnTo>
                    <a:pt x="27564" y="25391"/>
                  </a:lnTo>
                  <a:lnTo>
                    <a:pt x="27254" y="25887"/>
                  </a:lnTo>
                  <a:lnTo>
                    <a:pt x="27005" y="26322"/>
                  </a:lnTo>
                  <a:lnTo>
                    <a:pt x="26633" y="26756"/>
                  </a:lnTo>
                  <a:lnTo>
                    <a:pt x="26260" y="27129"/>
                  </a:lnTo>
                  <a:lnTo>
                    <a:pt x="25640" y="27688"/>
                  </a:lnTo>
                  <a:lnTo>
                    <a:pt x="24957" y="28184"/>
                  </a:lnTo>
                  <a:lnTo>
                    <a:pt x="24212" y="28619"/>
                  </a:lnTo>
                  <a:lnTo>
                    <a:pt x="23405" y="28991"/>
                  </a:lnTo>
                  <a:lnTo>
                    <a:pt x="22536" y="29302"/>
                  </a:lnTo>
                  <a:lnTo>
                    <a:pt x="21667" y="29550"/>
                  </a:lnTo>
                  <a:lnTo>
                    <a:pt x="20797" y="29736"/>
                  </a:lnTo>
                  <a:lnTo>
                    <a:pt x="19183" y="29736"/>
                  </a:lnTo>
                  <a:lnTo>
                    <a:pt x="18438" y="29674"/>
                  </a:lnTo>
                  <a:lnTo>
                    <a:pt x="17756" y="29488"/>
                  </a:lnTo>
                  <a:lnTo>
                    <a:pt x="17073" y="29302"/>
                  </a:lnTo>
                  <a:lnTo>
                    <a:pt x="16452" y="29053"/>
                  </a:lnTo>
                  <a:lnTo>
                    <a:pt x="15831" y="28743"/>
                  </a:lnTo>
                  <a:lnTo>
                    <a:pt x="15272" y="28433"/>
                  </a:lnTo>
                  <a:lnTo>
                    <a:pt x="14652" y="28060"/>
                  </a:lnTo>
                  <a:lnTo>
                    <a:pt x="14155" y="27625"/>
                  </a:lnTo>
                  <a:lnTo>
                    <a:pt x="13596" y="27191"/>
                  </a:lnTo>
                  <a:lnTo>
                    <a:pt x="13162" y="26694"/>
                  </a:lnTo>
                  <a:lnTo>
                    <a:pt x="12665" y="26136"/>
                  </a:lnTo>
                  <a:lnTo>
                    <a:pt x="11796" y="25018"/>
                  </a:lnTo>
                  <a:lnTo>
                    <a:pt x="11051" y="23777"/>
                  </a:lnTo>
                  <a:lnTo>
                    <a:pt x="10368" y="22473"/>
                  </a:lnTo>
                  <a:lnTo>
                    <a:pt x="9809" y="21107"/>
                  </a:lnTo>
                  <a:lnTo>
                    <a:pt x="9313" y="19741"/>
                  </a:lnTo>
                  <a:lnTo>
                    <a:pt x="8878" y="18376"/>
                  </a:lnTo>
                  <a:lnTo>
                    <a:pt x="8568" y="16948"/>
                  </a:lnTo>
                  <a:lnTo>
                    <a:pt x="8382" y="15644"/>
                  </a:lnTo>
                  <a:lnTo>
                    <a:pt x="8257" y="14341"/>
                  </a:lnTo>
                  <a:lnTo>
                    <a:pt x="8195" y="13099"/>
                  </a:lnTo>
                  <a:lnTo>
                    <a:pt x="8257" y="12168"/>
                  </a:lnTo>
                  <a:lnTo>
                    <a:pt x="8320" y="11299"/>
                  </a:lnTo>
                  <a:lnTo>
                    <a:pt x="8444" y="10368"/>
                  </a:lnTo>
                  <a:lnTo>
                    <a:pt x="8630" y="9498"/>
                  </a:lnTo>
                  <a:lnTo>
                    <a:pt x="8940" y="8629"/>
                  </a:lnTo>
                  <a:lnTo>
                    <a:pt x="9251" y="7760"/>
                  </a:lnTo>
                  <a:lnTo>
                    <a:pt x="9747" y="6953"/>
                  </a:lnTo>
                  <a:lnTo>
                    <a:pt x="10244" y="6208"/>
                  </a:lnTo>
                  <a:lnTo>
                    <a:pt x="10865" y="5525"/>
                  </a:lnTo>
                  <a:lnTo>
                    <a:pt x="11548" y="4905"/>
                  </a:lnTo>
                  <a:lnTo>
                    <a:pt x="12355" y="4408"/>
                  </a:lnTo>
                  <a:lnTo>
                    <a:pt x="13162" y="3911"/>
                  </a:lnTo>
                  <a:lnTo>
                    <a:pt x="14093" y="3601"/>
                  </a:lnTo>
                  <a:lnTo>
                    <a:pt x="14962" y="3291"/>
                  </a:lnTo>
                  <a:lnTo>
                    <a:pt x="15893" y="3166"/>
                  </a:lnTo>
                  <a:lnTo>
                    <a:pt x="16824" y="3104"/>
                  </a:lnTo>
                  <a:close/>
                  <a:moveTo>
                    <a:pt x="22722" y="0"/>
                  </a:moveTo>
                  <a:lnTo>
                    <a:pt x="20735" y="62"/>
                  </a:lnTo>
                  <a:lnTo>
                    <a:pt x="18687" y="187"/>
                  </a:lnTo>
                  <a:lnTo>
                    <a:pt x="17631" y="311"/>
                  </a:lnTo>
                  <a:lnTo>
                    <a:pt x="16576" y="497"/>
                  </a:lnTo>
                  <a:lnTo>
                    <a:pt x="15521" y="683"/>
                  </a:lnTo>
                  <a:lnTo>
                    <a:pt x="14465" y="932"/>
                  </a:lnTo>
                  <a:lnTo>
                    <a:pt x="13348" y="1242"/>
                  </a:lnTo>
                  <a:lnTo>
                    <a:pt x="12293" y="1614"/>
                  </a:lnTo>
                  <a:lnTo>
                    <a:pt x="11175" y="1987"/>
                  </a:lnTo>
                  <a:lnTo>
                    <a:pt x="10120" y="2484"/>
                  </a:lnTo>
                  <a:lnTo>
                    <a:pt x="9064" y="3042"/>
                  </a:lnTo>
                  <a:lnTo>
                    <a:pt x="8009" y="3663"/>
                  </a:lnTo>
                  <a:lnTo>
                    <a:pt x="6954" y="4346"/>
                  </a:lnTo>
                  <a:lnTo>
                    <a:pt x="5961" y="5153"/>
                  </a:lnTo>
                  <a:lnTo>
                    <a:pt x="5216" y="5836"/>
                  </a:lnTo>
                  <a:lnTo>
                    <a:pt x="4533" y="6519"/>
                  </a:lnTo>
                  <a:lnTo>
                    <a:pt x="3912" y="7202"/>
                  </a:lnTo>
                  <a:lnTo>
                    <a:pt x="3353" y="7946"/>
                  </a:lnTo>
                  <a:lnTo>
                    <a:pt x="2795" y="8753"/>
                  </a:lnTo>
                  <a:lnTo>
                    <a:pt x="2298" y="9498"/>
                  </a:lnTo>
                  <a:lnTo>
                    <a:pt x="1863" y="10305"/>
                  </a:lnTo>
                  <a:lnTo>
                    <a:pt x="1429" y="11112"/>
                  </a:lnTo>
                  <a:lnTo>
                    <a:pt x="1118" y="11920"/>
                  </a:lnTo>
                  <a:lnTo>
                    <a:pt x="808" y="12727"/>
                  </a:lnTo>
                  <a:lnTo>
                    <a:pt x="560" y="13596"/>
                  </a:lnTo>
                  <a:lnTo>
                    <a:pt x="373" y="14403"/>
                  </a:lnTo>
                  <a:lnTo>
                    <a:pt x="187" y="15210"/>
                  </a:lnTo>
                  <a:lnTo>
                    <a:pt x="63" y="16079"/>
                  </a:lnTo>
                  <a:lnTo>
                    <a:pt x="1" y="16886"/>
                  </a:lnTo>
                  <a:lnTo>
                    <a:pt x="1" y="17693"/>
                  </a:lnTo>
                  <a:lnTo>
                    <a:pt x="63" y="19059"/>
                  </a:lnTo>
                  <a:lnTo>
                    <a:pt x="249" y="20424"/>
                  </a:lnTo>
                  <a:lnTo>
                    <a:pt x="560" y="21728"/>
                  </a:lnTo>
                  <a:lnTo>
                    <a:pt x="994" y="23094"/>
                  </a:lnTo>
                  <a:lnTo>
                    <a:pt x="1553" y="24335"/>
                  </a:lnTo>
                  <a:lnTo>
                    <a:pt x="2298" y="25577"/>
                  </a:lnTo>
                  <a:lnTo>
                    <a:pt x="3105" y="26694"/>
                  </a:lnTo>
                  <a:lnTo>
                    <a:pt x="4036" y="27750"/>
                  </a:lnTo>
                  <a:lnTo>
                    <a:pt x="5091" y="28743"/>
                  </a:lnTo>
                  <a:lnTo>
                    <a:pt x="5650" y="29240"/>
                  </a:lnTo>
                  <a:lnTo>
                    <a:pt x="6209" y="29674"/>
                  </a:lnTo>
                  <a:lnTo>
                    <a:pt x="6830" y="30047"/>
                  </a:lnTo>
                  <a:lnTo>
                    <a:pt x="7513" y="30419"/>
                  </a:lnTo>
                  <a:lnTo>
                    <a:pt x="8195" y="30792"/>
                  </a:lnTo>
                  <a:lnTo>
                    <a:pt x="8878" y="31102"/>
                  </a:lnTo>
                  <a:lnTo>
                    <a:pt x="9623" y="31412"/>
                  </a:lnTo>
                  <a:lnTo>
                    <a:pt x="10368" y="31661"/>
                  </a:lnTo>
                  <a:lnTo>
                    <a:pt x="11175" y="31847"/>
                  </a:lnTo>
                  <a:lnTo>
                    <a:pt x="11982" y="32033"/>
                  </a:lnTo>
                  <a:lnTo>
                    <a:pt x="12851" y="32219"/>
                  </a:lnTo>
                  <a:lnTo>
                    <a:pt x="13720" y="32281"/>
                  </a:lnTo>
                  <a:lnTo>
                    <a:pt x="14590" y="32343"/>
                  </a:lnTo>
                  <a:lnTo>
                    <a:pt x="15521" y="32406"/>
                  </a:lnTo>
                  <a:lnTo>
                    <a:pt x="16949" y="32343"/>
                  </a:lnTo>
                  <a:lnTo>
                    <a:pt x="18501" y="32219"/>
                  </a:lnTo>
                  <a:lnTo>
                    <a:pt x="18128" y="33026"/>
                  </a:lnTo>
                  <a:lnTo>
                    <a:pt x="17880" y="33833"/>
                  </a:lnTo>
                  <a:lnTo>
                    <a:pt x="17631" y="34765"/>
                  </a:lnTo>
                  <a:lnTo>
                    <a:pt x="17569" y="35261"/>
                  </a:lnTo>
                  <a:lnTo>
                    <a:pt x="17569" y="35820"/>
                  </a:lnTo>
                  <a:lnTo>
                    <a:pt x="17631" y="36875"/>
                  </a:lnTo>
                  <a:lnTo>
                    <a:pt x="17818" y="37806"/>
                  </a:lnTo>
                  <a:lnTo>
                    <a:pt x="18128" y="38676"/>
                  </a:lnTo>
                  <a:lnTo>
                    <a:pt x="18501" y="39483"/>
                  </a:lnTo>
                  <a:lnTo>
                    <a:pt x="18935" y="40228"/>
                  </a:lnTo>
                  <a:lnTo>
                    <a:pt x="19370" y="40910"/>
                  </a:lnTo>
                  <a:lnTo>
                    <a:pt x="20363" y="42214"/>
                  </a:lnTo>
                  <a:lnTo>
                    <a:pt x="18625" y="42338"/>
                  </a:lnTo>
                  <a:lnTo>
                    <a:pt x="16638" y="42524"/>
                  </a:lnTo>
                  <a:lnTo>
                    <a:pt x="14403" y="42773"/>
                  </a:lnTo>
                  <a:lnTo>
                    <a:pt x="12044" y="43145"/>
                  </a:lnTo>
                  <a:lnTo>
                    <a:pt x="10803" y="43394"/>
                  </a:lnTo>
                  <a:lnTo>
                    <a:pt x="9623" y="43642"/>
                  </a:lnTo>
                  <a:lnTo>
                    <a:pt x="8382" y="44014"/>
                  </a:lnTo>
                  <a:lnTo>
                    <a:pt x="7140" y="44387"/>
                  </a:lnTo>
                  <a:lnTo>
                    <a:pt x="5961" y="44821"/>
                  </a:lnTo>
                  <a:lnTo>
                    <a:pt x="4781" y="45318"/>
                  </a:lnTo>
                  <a:lnTo>
                    <a:pt x="3602" y="45877"/>
                  </a:lnTo>
                  <a:lnTo>
                    <a:pt x="2484" y="46497"/>
                  </a:lnTo>
                  <a:lnTo>
                    <a:pt x="1491" y="47180"/>
                  </a:lnTo>
                  <a:lnTo>
                    <a:pt x="560" y="47863"/>
                  </a:lnTo>
                  <a:lnTo>
                    <a:pt x="8257" y="47863"/>
                  </a:lnTo>
                  <a:lnTo>
                    <a:pt x="9251" y="47305"/>
                  </a:lnTo>
                  <a:lnTo>
                    <a:pt x="10120" y="46870"/>
                  </a:lnTo>
                  <a:lnTo>
                    <a:pt x="11548" y="46311"/>
                  </a:lnTo>
                  <a:lnTo>
                    <a:pt x="13100" y="45877"/>
                  </a:lnTo>
                  <a:lnTo>
                    <a:pt x="14652" y="45566"/>
                  </a:lnTo>
                  <a:lnTo>
                    <a:pt x="16204" y="45256"/>
                  </a:lnTo>
                  <a:lnTo>
                    <a:pt x="17631" y="45070"/>
                  </a:lnTo>
                  <a:lnTo>
                    <a:pt x="18935" y="44946"/>
                  </a:lnTo>
                  <a:lnTo>
                    <a:pt x="20052" y="44883"/>
                  </a:lnTo>
                  <a:lnTo>
                    <a:pt x="21418" y="44821"/>
                  </a:lnTo>
                  <a:lnTo>
                    <a:pt x="22536" y="44821"/>
                  </a:lnTo>
                  <a:lnTo>
                    <a:pt x="23529" y="44946"/>
                  </a:lnTo>
                  <a:lnTo>
                    <a:pt x="25702" y="46435"/>
                  </a:lnTo>
                  <a:lnTo>
                    <a:pt x="27564" y="47863"/>
                  </a:lnTo>
                  <a:lnTo>
                    <a:pt x="38738" y="47863"/>
                  </a:lnTo>
                  <a:lnTo>
                    <a:pt x="38180" y="46808"/>
                  </a:lnTo>
                  <a:lnTo>
                    <a:pt x="37497" y="45753"/>
                  </a:lnTo>
                  <a:lnTo>
                    <a:pt x="36752" y="44821"/>
                  </a:lnTo>
                  <a:lnTo>
                    <a:pt x="35945" y="43890"/>
                  </a:lnTo>
                  <a:lnTo>
                    <a:pt x="35014" y="43021"/>
                  </a:lnTo>
                  <a:lnTo>
                    <a:pt x="34144" y="42214"/>
                  </a:lnTo>
                  <a:lnTo>
                    <a:pt x="32158" y="40538"/>
                  </a:lnTo>
                  <a:lnTo>
                    <a:pt x="28806" y="37931"/>
                  </a:lnTo>
                  <a:lnTo>
                    <a:pt x="27999" y="37186"/>
                  </a:lnTo>
                  <a:lnTo>
                    <a:pt x="27564" y="36813"/>
                  </a:lnTo>
                  <a:lnTo>
                    <a:pt x="27192" y="36379"/>
                  </a:lnTo>
                  <a:lnTo>
                    <a:pt x="26881" y="35820"/>
                  </a:lnTo>
                  <a:lnTo>
                    <a:pt x="26571" y="35261"/>
                  </a:lnTo>
                  <a:lnTo>
                    <a:pt x="26447" y="34640"/>
                  </a:lnTo>
                  <a:lnTo>
                    <a:pt x="26385" y="33895"/>
                  </a:lnTo>
                  <a:lnTo>
                    <a:pt x="26447" y="33151"/>
                  </a:lnTo>
                  <a:lnTo>
                    <a:pt x="26571" y="32468"/>
                  </a:lnTo>
                  <a:lnTo>
                    <a:pt x="26881" y="31847"/>
                  </a:lnTo>
                  <a:lnTo>
                    <a:pt x="27192" y="31288"/>
                  </a:lnTo>
                  <a:lnTo>
                    <a:pt x="27626" y="30729"/>
                  </a:lnTo>
                  <a:lnTo>
                    <a:pt x="28061" y="30233"/>
                  </a:lnTo>
                  <a:lnTo>
                    <a:pt x="28992" y="29302"/>
                  </a:lnTo>
                  <a:lnTo>
                    <a:pt x="30420" y="28122"/>
                  </a:lnTo>
                  <a:lnTo>
                    <a:pt x="31848" y="26881"/>
                  </a:lnTo>
                  <a:lnTo>
                    <a:pt x="32530" y="26260"/>
                  </a:lnTo>
                  <a:lnTo>
                    <a:pt x="33213" y="25577"/>
                  </a:lnTo>
                  <a:lnTo>
                    <a:pt x="33834" y="24832"/>
                  </a:lnTo>
                  <a:lnTo>
                    <a:pt x="34393" y="24087"/>
                  </a:lnTo>
                  <a:lnTo>
                    <a:pt x="34889" y="23280"/>
                  </a:lnTo>
                  <a:lnTo>
                    <a:pt x="35386" y="22473"/>
                  </a:lnTo>
                  <a:lnTo>
                    <a:pt x="35821" y="21542"/>
                  </a:lnTo>
                  <a:lnTo>
                    <a:pt x="36131" y="20548"/>
                  </a:lnTo>
                  <a:lnTo>
                    <a:pt x="36441" y="19555"/>
                  </a:lnTo>
                  <a:lnTo>
                    <a:pt x="36690" y="18438"/>
                  </a:lnTo>
                  <a:lnTo>
                    <a:pt x="36814" y="17258"/>
                  </a:lnTo>
                  <a:lnTo>
                    <a:pt x="36814" y="16017"/>
                  </a:lnTo>
                  <a:lnTo>
                    <a:pt x="36814" y="14713"/>
                  </a:lnTo>
                  <a:lnTo>
                    <a:pt x="36628" y="13471"/>
                  </a:lnTo>
                  <a:lnTo>
                    <a:pt x="36379" y="12354"/>
                  </a:lnTo>
                  <a:lnTo>
                    <a:pt x="36131" y="11299"/>
                  </a:lnTo>
                  <a:lnTo>
                    <a:pt x="35758" y="10305"/>
                  </a:lnTo>
                  <a:lnTo>
                    <a:pt x="35324" y="9374"/>
                  </a:lnTo>
                  <a:lnTo>
                    <a:pt x="34827" y="8505"/>
                  </a:lnTo>
                  <a:lnTo>
                    <a:pt x="34331" y="7698"/>
                  </a:lnTo>
                  <a:lnTo>
                    <a:pt x="33772" y="6953"/>
                  </a:lnTo>
                  <a:lnTo>
                    <a:pt x="33213" y="6270"/>
                  </a:lnTo>
                  <a:lnTo>
                    <a:pt x="32717" y="5650"/>
                  </a:lnTo>
                  <a:lnTo>
                    <a:pt x="32158" y="5091"/>
                  </a:lnTo>
                  <a:lnTo>
                    <a:pt x="31103" y="4160"/>
                  </a:lnTo>
                  <a:lnTo>
                    <a:pt x="30171" y="3353"/>
                  </a:lnTo>
                  <a:lnTo>
                    <a:pt x="36007" y="3353"/>
                  </a:lnTo>
                  <a:lnTo>
                    <a:pt x="41966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96" name="Shape 196"/>
            <p:cNvSpPr/>
            <p:nvPr/>
          </p:nvSpPr>
          <p:spPr>
            <a:xfrm>
              <a:off x="4484510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839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3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5" y="11734"/>
                  </a:lnTo>
                  <a:lnTo>
                    <a:pt x="34330" y="12665"/>
                  </a:lnTo>
                  <a:lnTo>
                    <a:pt x="34702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3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8" y="33523"/>
                  </a:lnTo>
                  <a:lnTo>
                    <a:pt x="35882" y="34765"/>
                  </a:lnTo>
                  <a:lnTo>
                    <a:pt x="35571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454" y="37186"/>
                  </a:lnTo>
                  <a:lnTo>
                    <a:pt x="34082" y="37683"/>
                  </a:lnTo>
                  <a:lnTo>
                    <a:pt x="33585" y="38241"/>
                  </a:lnTo>
                  <a:lnTo>
                    <a:pt x="33150" y="38738"/>
                  </a:lnTo>
                  <a:lnTo>
                    <a:pt x="32592" y="39173"/>
                  </a:lnTo>
                  <a:lnTo>
                    <a:pt x="32033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7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7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340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8" y="33151"/>
                  </a:lnTo>
                  <a:lnTo>
                    <a:pt x="12292" y="32220"/>
                  </a:lnTo>
                  <a:lnTo>
                    <a:pt x="11857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0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22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29" y="10057"/>
                  </a:lnTo>
                  <a:lnTo>
                    <a:pt x="10740" y="9313"/>
                  </a:lnTo>
                  <a:lnTo>
                    <a:pt x="11174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6" y="6705"/>
                  </a:lnTo>
                  <a:lnTo>
                    <a:pt x="13409" y="6084"/>
                  </a:lnTo>
                  <a:lnTo>
                    <a:pt x="14278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0" y="2918"/>
                  </a:lnTo>
                  <a:lnTo>
                    <a:pt x="21790" y="2856"/>
                  </a:lnTo>
                  <a:close/>
                  <a:moveTo>
                    <a:pt x="22907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699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2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0" y="13968"/>
                  </a:lnTo>
                  <a:lnTo>
                    <a:pt x="1366" y="15024"/>
                  </a:lnTo>
                  <a:lnTo>
                    <a:pt x="1055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248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8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18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0" y="34268"/>
                  </a:lnTo>
                  <a:lnTo>
                    <a:pt x="3849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19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7" y="44698"/>
                  </a:lnTo>
                  <a:lnTo>
                    <a:pt x="22783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2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19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0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79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4945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7" y="23094"/>
                  </a:lnTo>
                  <a:lnTo>
                    <a:pt x="46559" y="22039"/>
                  </a:lnTo>
                  <a:lnTo>
                    <a:pt x="46497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7" y="13844"/>
                  </a:lnTo>
                  <a:lnTo>
                    <a:pt x="44573" y="12851"/>
                  </a:lnTo>
                  <a:lnTo>
                    <a:pt x="44138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447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33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97" name="Shape 197"/>
            <p:cNvSpPr/>
            <p:nvPr/>
          </p:nvSpPr>
          <p:spPr>
            <a:xfrm>
              <a:off x="2482961" y="5743946"/>
              <a:ext cx="1776613" cy="1707929"/>
            </a:xfrm>
            <a:custGeom>
              <a:avLst/>
              <a:gdLst/>
              <a:ahLst/>
              <a:cxnLst/>
              <a:rect l="0" t="0" r="0" b="0"/>
              <a:pathLst>
                <a:path w="46560" h="44760" extrusionOk="0">
                  <a:moveTo>
                    <a:pt x="21790" y="2856"/>
                  </a:moveTo>
                  <a:lnTo>
                    <a:pt x="22845" y="2918"/>
                  </a:lnTo>
                  <a:lnTo>
                    <a:pt x="23901" y="3043"/>
                  </a:lnTo>
                  <a:lnTo>
                    <a:pt x="24832" y="3291"/>
                  </a:lnTo>
                  <a:lnTo>
                    <a:pt x="25763" y="3539"/>
                  </a:lnTo>
                  <a:lnTo>
                    <a:pt x="26694" y="3912"/>
                  </a:lnTo>
                  <a:lnTo>
                    <a:pt x="27501" y="4408"/>
                  </a:lnTo>
                  <a:lnTo>
                    <a:pt x="28308" y="4905"/>
                  </a:lnTo>
                  <a:lnTo>
                    <a:pt x="29115" y="5464"/>
                  </a:lnTo>
                  <a:lnTo>
                    <a:pt x="29798" y="6084"/>
                  </a:lnTo>
                  <a:lnTo>
                    <a:pt x="30543" y="6767"/>
                  </a:lnTo>
                  <a:lnTo>
                    <a:pt x="31164" y="7512"/>
                  </a:lnTo>
                  <a:lnTo>
                    <a:pt x="31785" y="8257"/>
                  </a:lnTo>
                  <a:lnTo>
                    <a:pt x="32344" y="9126"/>
                  </a:lnTo>
                  <a:lnTo>
                    <a:pt x="32902" y="9933"/>
                  </a:lnTo>
                  <a:lnTo>
                    <a:pt x="33399" y="10865"/>
                  </a:lnTo>
                  <a:lnTo>
                    <a:pt x="33896" y="11734"/>
                  </a:lnTo>
                  <a:lnTo>
                    <a:pt x="34330" y="12665"/>
                  </a:lnTo>
                  <a:lnTo>
                    <a:pt x="34703" y="13658"/>
                  </a:lnTo>
                  <a:lnTo>
                    <a:pt x="35447" y="15583"/>
                  </a:lnTo>
                  <a:lnTo>
                    <a:pt x="36006" y="17631"/>
                  </a:lnTo>
                  <a:lnTo>
                    <a:pt x="36503" y="19618"/>
                  </a:lnTo>
                  <a:lnTo>
                    <a:pt x="36875" y="21542"/>
                  </a:lnTo>
                  <a:lnTo>
                    <a:pt x="37124" y="23404"/>
                  </a:lnTo>
                  <a:lnTo>
                    <a:pt x="37248" y="25143"/>
                  </a:lnTo>
                  <a:lnTo>
                    <a:pt x="37310" y="26819"/>
                  </a:lnTo>
                  <a:lnTo>
                    <a:pt x="37248" y="28185"/>
                  </a:lnTo>
                  <a:lnTo>
                    <a:pt x="37186" y="29550"/>
                  </a:lnTo>
                  <a:lnTo>
                    <a:pt x="36999" y="30916"/>
                  </a:lnTo>
                  <a:lnTo>
                    <a:pt x="36751" y="32220"/>
                  </a:lnTo>
                  <a:lnTo>
                    <a:pt x="36379" y="33523"/>
                  </a:lnTo>
                  <a:lnTo>
                    <a:pt x="35882" y="34765"/>
                  </a:lnTo>
                  <a:lnTo>
                    <a:pt x="35572" y="35386"/>
                  </a:lnTo>
                  <a:lnTo>
                    <a:pt x="35261" y="36006"/>
                  </a:lnTo>
                  <a:lnTo>
                    <a:pt x="34889" y="36565"/>
                  </a:lnTo>
                  <a:lnTo>
                    <a:pt x="34516" y="37186"/>
                  </a:lnTo>
                  <a:lnTo>
                    <a:pt x="34082" y="37683"/>
                  </a:lnTo>
                  <a:lnTo>
                    <a:pt x="33647" y="38241"/>
                  </a:lnTo>
                  <a:lnTo>
                    <a:pt x="33151" y="38738"/>
                  </a:lnTo>
                  <a:lnTo>
                    <a:pt x="32592" y="39173"/>
                  </a:lnTo>
                  <a:lnTo>
                    <a:pt x="32095" y="39607"/>
                  </a:lnTo>
                  <a:lnTo>
                    <a:pt x="31474" y="39980"/>
                  </a:lnTo>
                  <a:lnTo>
                    <a:pt x="30916" y="40352"/>
                  </a:lnTo>
                  <a:lnTo>
                    <a:pt x="30295" y="40662"/>
                  </a:lnTo>
                  <a:lnTo>
                    <a:pt x="29674" y="40973"/>
                  </a:lnTo>
                  <a:lnTo>
                    <a:pt x="28991" y="41221"/>
                  </a:lnTo>
                  <a:lnTo>
                    <a:pt x="28370" y="41407"/>
                  </a:lnTo>
                  <a:lnTo>
                    <a:pt x="27688" y="41594"/>
                  </a:lnTo>
                  <a:lnTo>
                    <a:pt x="27005" y="41718"/>
                  </a:lnTo>
                  <a:lnTo>
                    <a:pt x="26322" y="41842"/>
                  </a:lnTo>
                  <a:lnTo>
                    <a:pt x="25639" y="41904"/>
                  </a:lnTo>
                  <a:lnTo>
                    <a:pt x="23901" y="41904"/>
                  </a:lnTo>
                  <a:lnTo>
                    <a:pt x="22908" y="41780"/>
                  </a:lnTo>
                  <a:lnTo>
                    <a:pt x="21976" y="41532"/>
                  </a:lnTo>
                  <a:lnTo>
                    <a:pt x="21045" y="41283"/>
                  </a:lnTo>
                  <a:lnTo>
                    <a:pt x="20176" y="40911"/>
                  </a:lnTo>
                  <a:lnTo>
                    <a:pt x="19307" y="40476"/>
                  </a:lnTo>
                  <a:lnTo>
                    <a:pt x="18500" y="39980"/>
                  </a:lnTo>
                  <a:lnTo>
                    <a:pt x="17693" y="39421"/>
                  </a:lnTo>
                  <a:lnTo>
                    <a:pt x="16948" y="38800"/>
                  </a:lnTo>
                  <a:lnTo>
                    <a:pt x="16265" y="38117"/>
                  </a:lnTo>
                  <a:lnTo>
                    <a:pt x="15582" y="37372"/>
                  </a:lnTo>
                  <a:lnTo>
                    <a:pt x="14961" y="36627"/>
                  </a:lnTo>
                  <a:lnTo>
                    <a:pt x="14403" y="35820"/>
                  </a:lnTo>
                  <a:lnTo>
                    <a:pt x="13782" y="34951"/>
                  </a:lnTo>
                  <a:lnTo>
                    <a:pt x="13285" y="34082"/>
                  </a:lnTo>
                  <a:lnTo>
                    <a:pt x="12789" y="33151"/>
                  </a:lnTo>
                  <a:lnTo>
                    <a:pt x="12354" y="32220"/>
                  </a:lnTo>
                  <a:lnTo>
                    <a:pt x="11920" y="31226"/>
                  </a:lnTo>
                  <a:lnTo>
                    <a:pt x="11112" y="29240"/>
                  </a:lnTo>
                  <a:lnTo>
                    <a:pt x="10492" y="27253"/>
                  </a:lnTo>
                  <a:lnTo>
                    <a:pt x="9995" y="25205"/>
                  </a:lnTo>
                  <a:lnTo>
                    <a:pt x="9561" y="23156"/>
                  </a:lnTo>
                  <a:lnTo>
                    <a:pt x="9312" y="21170"/>
                  </a:lnTo>
                  <a:lnTo>
                    <a:pt x="9126" y="19245"/>
                  </a:lnTo>
                  <a:lnTo>
                    <a:pt x="9064" y="17445"/>
                  </a:lnTo>
                  <a:lnTo>
                    <a:pt x="9126" y="15955"/>
                  </a:lnTo>
                  <a:lnTo>
                    <a:pt x="9250" y="14465"/>
                  </a:lnTo>
                  <a:lnTo>
                    <a:pt x="9498" y="12975"/>
                  </a:lnTo>
                  <a:lnTo>
                    <a:pt x="9685" y="12230"/>
                  </a:lnTo>
                  <a:lnTo>
                    <a:pt x="9871" y="11485"/>
                  </a:lnTo>
                  <a:lnTo>
                    <a:pt x="10119" y="10740"/>
                  </a:lnTo>
                  <a:lnTo>
                    <a:pt x="10430" y="10057"/>
                  </a:lnTo>
                  <a:lnTo>
                    <a:pt x="10740" y="9313"/>
                  </a:lnTo>
                  <a:lnTo>
                    <a:pt x="11175" y="8630"/>
                  </a:lnTo>
                  <a:lnTo>
                    <a:pt x="11609" y="8009"/>
                  </a:lnTo>
                  <a:lnTo>
                    <a:pt x="12168" y="7326"/>
                  </a:lnTo>
                  <a:lnTo>
                    <a:pt x="12727" y="6705"/>
                  </a:lnTo>
                  <a:lnTo>
                    <a:pt x="13409" y="6084"/>
                  </a:lnTo>
                  <a:lnTo>
                    <a:pt x="14279" y="5339"/>
                  </a:lnTo>
                  <a:lnTo>
                    <a:pt x="15210" y="4719"/>
                  </a:lnTo>
                  <a:lnTo>
                    <a:pt x="16203" y="4160"/>
                  </a:lnTo>
                  <a:lnTo>
                    <a:pt x="17258" y="3725"/>
                  </a:lnTo>
                  <a:lnTo>
                    <a:pt x="18376" y="3353"/>
                  </a:lnTo>
                  <a:lnTo>
                    <a:pt x="19493" y="3105"/>
                  </a:lnTo>
                  <a:lnTo>
                    <a:pt x="20611" y="2918"/>
                  </a:lnTo>
                  <a:lnTo>
                    <a:pt x="21790" y="2856"/>
                  </a:lnTo>
                  <a:close/>
                  <a:moveTo>
                    <a:pt x="22908" y="1"/>
                  </a:moveTo>
                  <a:lnTo>
                    <a:pt x="21604" y="125"/>
                  </a:lnTo>
                  <a:lnTo>
                    <a:pt x="20362" y="249"/>
                  </a:lnTo>
                  <a:lnTo>
                    <a:pt x="19121" y="435"/>
                  </a:lnTo>
                  <a:lnTo>
                    <a:pt x="17879" y="746"/>
                  </a:lnTo>
                  <a:lnTo>
                    <a:pt x="16700" y="1056"/>
                  </a:lnTo>
                  <a:lnTo>
                    <a:pt x="15582" y="1366"/>
                  </a:lnTo>
                  <a:lnTo>
                    <a:pt x="14465" y="1801"/>
                  </a:lnTo>
                  <a:lnTo>
                    <a:pt x="13347" y="2298"/>
                  </a:lnTo>
                  <a:lnTo>
                    <a:pt x="12292" y="2794"/>
                  </a:lnTo>
                  <a:lnTo>
                    <a:pt x="11299" y="3353"/>
                  </a:lnTo>
                  <a:lnTo>
                    <a:pt x="10305" y="3912"/>
                  </a:lnTo>
                  <a:lnTo>
                    <a:pt x="9374" y="4595"/>
                  </a:lnTo>
                  <a:lnTo>
                    <a:pt x="8505" y="5277"/>
                  </a:lnTo>
                  <a:lnTo>
                    <a:pt x="7636" y="5960"/>
                  </a:lnTo>
                  <a:lnTo>
                    <a:pt x="6767" y="6767"/>
                  </a:lnTo>
                  <a:lnTo>
                    <a:pt x="6022" y="7512"/>
                  </a:lnTo>
                  <a:lnTo>
                    <a:pt x="5277" y="8381"/>
                  </a:lnTo>
                  <a:lnTo>
                    <a:pt x="4594" y="9250"/>
                  </a:lnTo>
                  <a:lnTo>
                    <a:pt x="3911" y="10120"/>
                  </a:lnTo>
                  <a:lnTo>
                    <a:pt x="3353" y="11051"/>
                  </a:lnTo>
                  <a:lnTo>
                    <a:pt x="2794" y="11982"/>
                  </a:lnTo>
                  <a:lnTo>
                    <a:pt x="2235" y="12975"/>
                  </a:lnTo>
                  <a:lnTo>
                    <a:pt x="1801" y="13968"/>
                  </a:lnTo>
                  <a:lnTo>
                    <a:pt x="1366" y="15024"/>
                  </a:lnTo>
                  <a:lnTo>
                    <a:pt x="1056" y="16017"/>
                  </a:lnTo>
                  <a:lnTo>
                    <a:pt x="745" y="17134"/>
                  </a:lnTo>
                  <a:lnTo>
                    <a:pt x="497" y="18190"/>
                  </a:lnTo>
                  <a:lnTo>
                    <a:pt x="311" y="19307"/>
                  </a:lnTo>
                  <a:lnTo>
                    <a:pt x="124" y="20425"/>
                  </a:lnTo>
                  <a:lnTo>
                    <a:pt x="62" y="21542"/>
                  </a:lnTo>
                  <a:lnTo>
                    <a:pt x="0" y="22660"/>
                  </a:lnTo>
                  <a:lnTo>
                    <a:pt x="62" y="23653"/>
                  </a:lnTo>
                  <a:lnTo>
                    <a:pt x="124" y="24646"/>
                  </a:lnTo>
                  <a:lnTo>
                    <a:pt x="249" y="25639"/>
                  </a:lnTo>
                  <a:lnTo>
                    <a:pt x="373" y="26633"/>
                  </a:lnTo>
                  <a:lnTo>
                    <a:pt x="621" y="27626"/>
                  </a:lnTo>
                  <a:lnTo>
                    <a:pt x="869" y="28619"/>
                  </a:lnTo>
                  <a:lnTo>
                    <a:pt x="1180" y="29550"/>
                  </a:lnTo>
                  <a:lnTo>
                    <a:pt x="1490" y="30544"/>
                  </a:lnTo>
                  <a:lnTo>
                    <a:pt x="1863" y="31475"/>
                  </a:lnTo>
                  <a:lnTo>
                    <a:pt x="2297" y="32406"/>
                  </a:lnTo>
                  <a:lnTo>
                    <a:pt x="2794" y="33337"/>
                  </a:lnTo>
                  <a:lnTo>
                    <a:pt x="3291" y="34268"/>
                  </a:lnTo>
                  <a:lnTo>
                    <a:pt x="3911" y="35137"/>
                  </a:lnTo>
                  <a:lnTo>
                    <a:pt x="4470" y="36006"/>
                  </a:lnTo>
                  <a:lnTo>
                    <a:pt x="5153" y="36814"/>
                  </a:lnTo>
                  <a:lnTo>
                    <a:pt x="5836" y="37621"/>
                  </a:lnTo>
                  <a:lnTo>
                    <a:pt x="6581" y="38428"/>
                  </a:lnTo>
                  <a:lnTo>
                    <a:pt x="7388" y="39173"/>
                  </a:lnTo>
                  <a:lnTo>
                    <a:pt x="8195" y="39855"/>
                  </a:lnTo>
                  <a:lnTo>
                    <a:pt x="9064" y="40538"/>
                  </a:lnTo>
                  <a:lnTo>
                    <a:pt x="9995" y="41159"/>
                  </a:lnTo>
                  <a:lnTo>
                    <a:pt x="10926" y="41718"/>
                  </a:lnTo>
                  <a:lnTo>
                    <a:pt x="11920" y="42276"/>
                  </a:lnTo>
                  <a:lnTo>
                    <a:pt x="12975" y="42773"/>
                  </a:lnTo>
                  <a:lnTo>
                    <a:pt x="14092" y="43208"/>
                  </a:lnTo>
                  <a:lnTo>
                    <a:pt x="15210" y="43580"/>
                  </a:lnTo>
                  <a:lnTo>
                    <a:pt x="16389" y="43953"/>
                  </a:lnTo>
                  <a:lnTo>
                    <a:pt x="17569" y="44201"/>
                  </a:lnTo>
                  <a:lnTo>
                    <a:pt x="18810" y="44449"/>
                  </a:lnTo>
                  <a:lnTo>
                    <a:pt x="20114" y="44573"/>
                  </a:lnTo>
                  <a:lnTo>
                    <a:pt x="21418" y="44698"/>
                  </a:lnTo>
                  <a:lnTo>
                    <a:pt x="22845" y="44760"/>
                  </a:lnTo>
                  <a:lnTo>
                    <a:pt x="24211" y="44698"/>
                  </a:lnTo>
                  <a:lnTo>
                    <a:pt x="25577" y="44573"/>
                  </a:lnTo>
                  <a:lnTo>
                    <a:pt x="26943" y="44449"/>
                  </a:lnTo>
                  <a:lnTo>
                    <a:pt x="28184" y="44201"/>
                  </a:lnTo>
                  <a:lnTo>
                    <a:pt x="29426" y="43891"/>
                  </a:lnTo>
                  <a:lnTo>
                    <a:pt x="30667" y="43580"/>
                  </a:lnTo>
                  <a:lnTo>
                    <a:pt x="31847" y="43208"/>
                  </a:lnTo>
                  <a:lnTo>
                    <a:pt x="32964" y="42711"/>
                  </a:lnTo>
                  <a:lnTo>
                    <a:pt x="34020" y="42214"/>
                  </a:lnTo>
                  <a:lnTo>
                    <a:pt x="35075" y="41656"/>
                  </a:lnTo>
                  <a:lnTo>
                    <a:pt x="36068" y="41097"/>
                  </a:lnTo>
                  <a:lnTo>
                    <a:pt x="36999" y="40476"/>
                  </a:lnTo>
                  <a:lnTo>
                    <a:pt x="37931" y="39793"/>
                  </a:lnTo>
                  <a:lnTo>
                    <a:pt x="38800" y="39048"/>
                  </a:lnTo>
                  <a:lnTo>
                    <a:pt x="39607" y="38303"/>
                  </a:lnTo>
                  <a:lnTo>
                    <a:pt x="40414" y="37496"/>
                  </a:lnTo>
                  <a:lnTo>
                    <a:pt x="41097" y="36689"/>
                  </a:lnTo>
                  <a:lnTo>
                    <a:pt x="41780" y="35820"/>
                  </a:lnTo>
                  <a:lnTo>
                    <a:pt x="42462" y="34951"/>
                  </a:lnTo>
                  <a:lnTo>
                    <a:pt x="43021" y="34082"/>
                  </a:lnTo>
                  <a:lnTo>
                    <a:pt x="43580" y="33151"/>
                  </a:lnTo>
                  <a:lnTo>
                    <a:pt x="44076" y="32158"/>
                  </a:lnTo>
                  <a:lnTo>
                    <a:pt x="44573" y="31226"/>
                  </a:lnTo>
                  <a:lnTo>
                    <a:pt x="45008" y="30233"/>
                  </a:lnTo>
                  <a:lnTo>
                    <a:pt x="45318" y="29240"/>
                  </a:lnTo>
                  <a:lnTo>
                    <a:pt x="45628" y="28247"/>
                  </a:lnTo>
                  <a:lnTo>
                    <a:pt x="45939" y="27191"/>
                  </a:lnTo>
                  <a:lnTo>
                    <a:pt x="46125" y="26198"/>
                  </a:lnTo>
                  <a:lnTo>
                    <a:pt x="46311" y="25143"/>
                  </a:lnTo>
                  <a:lnTo>
                    <a:pt x="46435" y="24087"/>
                  </a:lnTo>
                  <a:lnTo>
                    <a:pt x="46498" y="23094"/>
                  </a:lnTo>
                  <a:lnTo>
                    <a:pt x="46560" y="22039"/>
                  </a:lnTo>
                  <a:lnTo>
                    <a:pt x="46498" y="20983"/>
                  </a:lnTo>
                  <a:lnTo>
                    <a:pt x="46435" y="19928"/>
                  </a:lnTo>
                  <a:lnTo>
                    <a:pt x="46311" y="18873"/>
                  </a:lnTo>
                  <a:lnTo>
                    <a:pt x="46125" y="17817"/>
                  </a:lnTo>
                  <a:lnTo>
                    <a:pt x="45939" y="16824"/>
                  </a:lnTo>
                  <a:lnTo>
                    <a:pt x="45628" y="15769"/>
                  </a:lnTo>
                  <a:lnTo>
                    <a:pt x="45318" y="14775"/>
                  </a:lnTo>
                  <a:lnTo>
                    <a:pt x="45008" y="13844"/>
                  </a:lnTo>
                  <a:lnTo>
                    <a:pt x="44573" y="12851"/>
                  </a:lnTo>
                  <a:lnTo>
                    <a:pt x="44139" y="11920"/>
                  </a:lnTo>
                  <a:lnTo>
                    <a:pt x="43642" y="10989"/>
                  </a:lnTo>
                  <a:lnTo>
                    <a:pt x="43083" y="10057"/>
                  </a:lnTo>
                  <a:lnTo>
                    <a:pt x="42524" y="9188"/>
                  </a:lnTo>
                  <a:lnTo>
                    <a:pt x="41904" y="8381"/>
                  </a:lnTo>
                  <a:lnTo>
                    <a:pt x="41221" y="7574"/>
                  </a:lnTo>
                  <a:lnTo>
                    <a:pt x="40538" y="6767"/>
                  </a:lnTo>
                  <a:lnTo>
                    <a:pt x="39793" y="6022"/>
                  </a:lnTo>
                  <a:lnTo>
                    <a:pt x="38986" y="5277"/>
                  </a:lnTo>
                  <a:lnTo>
                    <a:pt x="38179" y="4595"/>
                  </a:lnTo>
                  <a:lnTo>
                    <a:pt x="37310" y="3974"/>
                  </a:lnTo>
                  <a:lnTo>
                    <a:pt x="36441" y="3353"/>
                  </a:lnTo>
                  <a:lnTo>
                    <a:pt x="35510" y="2794"/>
                  </a:lnTo>
                  <a:lnTo>
                    <a:pt x="34516" y="2298"/>
                  </a:lnTo>
                  <a:lnTo>
                    <a:pt x="33523" y="1863"/>
                  </a:lnTo>
                  <a:lnTo>
                    <a:pt x="32468" y="1429"/>
                  </a:lnTo>
                  <a:lnTo>
                    <a:pt x="31350" y="1056"/>
                  </a:lnTo>
                  <a:lnTo>
                    <a:pt x="30295" y="746"/>
                  </a:lnTo>
                  <a:lnTo>
                    <a:pt x="29115" y="497"/>
                  </a:lnTo>
                  <a:lnTo>
                    <a:pt x="27936" y="249"/>
                  </a:lnTo>
                  <a:lnTo>
                    <a:pt x="26756" y="125"/>
                  </a:lnTo>
                  <a:lnTo>
                    <a:pt x="25515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98" name="Shape 198"/>
            <p:cNvSpPr/>
            <p:nvPr/>
          </p:nvSpPr>
          <p:spPr>
            <a:xfrm>
              <a:off x="17169" y="4936221"/>
              <a:ext cx="2309597" cy="2638858"/>
            </a:xfrm>
            <a:custGeom>
              <a:avLst/>
              <a:gdLst/>
              <a:ahLst/>
              <a:cxnLst/>
              <a:rect l="0" t="0" r="0" b="0"/>
              <a:pathLst>
                <a:path w="60528" h="69157" extrusionOk="0">
                  <a:moveTo>
                    <a:pt x="30170" y="1"/>
                  </a:moveTo>
                  <a:lnTo>
                    <a:pt x="27687" y="63"/>
                  </a:lnTo>
                  <a:lnTo>
                    <a:pt x="25266" y="249"/>
                  </a:lnTo>
                  <a:lnTo>
                    <a:pt x="22969" y="559"/>
                  </a:lnTo>
                  <a:lnTo>
                    <a:pt x="20672" y="994"/>
                  </a:lnTo>
                  <a:lnTo>
                    <a:pt x="18500" y="1491"/>
                  </a:lnTo>
                  <a:lnTo>
                    <a:pt x="16451" y="2111"/>
                  </a:lnTo>
                  <a:lnTo>
                    <a:pt x="14402" y="2856"/>
                  </a:lnTo>
                  <a:lnTo>
                    <a:pt x="12478" y="3663"/>
                  </a:lnTo>
                  <a:lnTo>
                    <a:pt x="10616" y="4533"/>
                  </a:lnTo>
                  <a:lnTo>
                    <a:pt x="8815" y="5588"/>
                  </a:lnTo>
                  <a:lnTo>
                    <a:pt x="7139" y="6643"/>
                  </a:lnTo>
                  <a:lnTo>
                    <a:pt x="5525" y="7823"/>
                  </a:lnTo>
                  <a:lnTo>
                    <a:pt x="4035" y="9064"/>
                  </a:lnTo>
                  <a:lnTo>
                    <a:pt x="2607" y="10368"/>
                  </a:lnTo>
                  <a:lnTo>
                    <a:pt x="1242" y="11734"/>
                  </a:lnTo>
                  <a:lnTo>
                    <a:pt x="0" y="13224"/>
                  </a:lnTo>
                  <a:lnTo>
                    <a:pt x="0" y="57238"/>
                  </a:lnTo>
                  <a:lnTo>
                    <a:pt x="1117" y="58541"/>
                  </a:lnTo>
                  <a:lnTo>
                    <a:pt x="2297" y="59721"/>
                  </a:lnTo>
                  <a:lnTo>
                    <a:pt x="3539" y="60900"/>
                  </a:lnTo>
                  <a:lnTo>
                    <a:pt x="4904" y="62018"/>
                  </a:lnTo>
                  <a:lnTo>
                    <a:pt x="6332" y="63073"/>
                  </a:lnTo>
                  <a:lnTo>
                    <a:pt x="7884" y="64004"/>
                  </a:lnTo>
                  <a:lnTo>
                    <a:pt x="9436" y="64935"/>
                  </a:lnTo>
                  <a:lnTo>
                    <a:pt x="11174" y="65742"/>
                  </a:lnTo>
                  <a:lnTo>
                    <a:pt x="12912" y="66549"/>
                  </a:lnTo>
                  <a:lnTo>
                    <a:pt x="14837" y="67170"/>
                  </a:lnTo>
                  <a:lnTo>
                    <a:pt x="16761" y="67729"/>
                  </a:lnTo>
                  <a:lnTo>
                    <a:pt x="18810" y="68226"/>
                  </a:lnTo>
                  <a:lnTo>
                    <a:pt x="20983" y="68598"/>
                  </a:lnTo>
                  <a:lnTo>
                    <a:pt x="23218" y="68908"/>
                  </a:lnTo>
                  <a:lnTo>
                    <a:pt x="25577" y="69095"/>
                  </a:lnTo>
                  <a:lnTo>
                    <a:pt x="27998" y="69157"/>
                  </a:lnTo>
                  <a:lnTo>
                    <a:pt x="29922" y="69095"/>
                  </a:lnTo>
                  <a:lnTo>
                    <a:pt x="31847" y="68970"/>
                  </a:lnTo>
                  <a:lnTo>
                    <a:pt x="33771" y="68846"/>
                  </a:lnTo>
                  <a:lnTo>
                    <a:pt x="35633" y="68660"/>
                  </a:lnTo>
                  <a:lnTo>
                    <a:pt x="39482" y="68163"/>
                  </a:lnTo>
                  <a:lnTo>
                    <a:pt x="43517" y="67543"/>
                  </a:lnTo>
                  <a:lnTo>
                    <a:pt x="56927" y="64439"/>
                  </a:lnTo>
                  <a:lnTo>
                    <a:pt x="56927" y="52954"/>
                  </a:lnTo>
                  <a:lnTo>
                    <a:pt x="56989" y="50657"/>
                  </a:lnTo>
                  <a:lnTo>
                    <a:pt x="57113" y="48484"/>
                  </a:lnTo>
                  <a:lnTo>
                    <a:pt x="57237" y="47988"/>
                  </a:lnTo>
                  <a:lnTo>
                    <a:pt x="57423" y="47615"/>
                  </a:lnTo>
                  <a:lnTo>
                    <a:pt x="57671" y="47305"/>
                  </a:lnTo>
                  <a:lnTo>
                    <a:pt x="58044" y="46932"/>
                  </a:lnTo>
                  <a:lnTo>
                    <a:pt x="60527" y="44636"/>
                  </a:lnTo>
                  <a:lnTo>
                    <a:pt x="40600" y="44636"/>
                  </a:lnTo>
                  <a:lnTo>
                    <a:pt x="33088" y="48671"/>
                  </a:lnTo>
                  <a:lnTo>
                    <a:pt x="47242" y="47926"/>
                  </a:lnTo>
                  <a:lnTo>
                    <a:pt x="47242" y="63011"/>
                  </a:lnTo>
                  <a:lnTo>
                    <a:pt x="45069" y="63880"/>
                  </a:lnTo>
                  <a:lnTo>
                    <a:pt x="43828" y="64252"/>
                  </a:lnTo>
                  <a:lnTo>
                    <a:pt x="42524" y="64625"/>
                  </a:lnTo>
                  <a:lnTo>
                    <a:pt x="41034" y="64935"/>
                  </a:lnTo>
                  <a:lnTo>
                    <a:pt x="39358" y="65184"/>
                  </a:lnTo>
                  <a:lnTo>
                    <a:pt x="37434" y="65308"/>
                  </a:lnTo>
                  <a:lnTo>
                    <a:pt x="35323" y="65370"/>
                  </a:lnTo>
                  <a:lnTo>
                    <a:pt x="33461" y="65308"/>
                  </a:lnTo>
                  <a:lnTo>
                    <a:pt x="31598" y="65184"/>
                  </a:lnTo>
                  <a:lnTo>
                    <a:pt x="29798" y="64935"/>
                  </a:lnTo>
                  <a:lnTo>
                    <a:pt x="27998" y="64625"/>
                  </a:lnTo>
                  <a:lnTo>
                    <a:pt x="26322" y="64190"/>
                  </a:lnTo>
                  <a:lnTo>
                    <a:pt x="24645" y="63694"/>
                  </a:lnTo>
                  <a:lnTo>
                    <a:pt x="23031" y="63135"/>
                  </a:lnTo>
                  <a:lnTo>
                    <a:pt x="21479" y="62514"/>
                  </a:lnTo>
                  <a:lnTo>
                    <a:pt x="19989" y="61769"/>
                  </a:lnTo>
                  <a:lnTo>
                    <a:pt x="18562" y="60962"/>
                  </a:lnTo>
                  <a:lnTo>
                    <a:pt x="17134" y="60093"/>
                  </a:lnTo>
                  <a:lnTo>
                    <a:pt x="15830" y="59162"/>
                  </a:lnTo>
                  <a:lnTo>
                    <a:pt x="14527" y="58169"/>
                  </a:lnTo>
                  <a:lnTo>
                    <a:pt x="13285" y="57113"/>
                  </a:lnTo>
                  <a:lnTo>
                    <a:pt x="12168" y="55996"/>
                  </a:lnTo>
                  <a:lnTo>
                    <a:pt x="11050" y="54879"/>
                  </a:lnTo>
                  <a:lnTo>
                    <a:pt x="9995" y="53637"/>
                  </a:lnTo>
                  <a:lnTo>
                    <a:pt x="9001" y="52395"/>
                  </a:lnTo>
                  <a:lnTo>
                    <a:pt x="8070" y="51030"/>
                  </a:lnTo>
                  <a:lnTo>
                    <a:pt x="7201" y="49726"/>
                  </a:lnTo>
                  <a:lnTo>
                    <a:pt x="6394" y="48298"/>
                  </a:lnTo>
                  <a:lnTo>
                    <a:pt x="5649" y="46870"/>
                  </a:lnTo>
                  <a:lnTo>
                    <a:pt x="5028" y="45380"/>
                  </a:lnTo>
                  <a:lnTo>
                    <a:pt x="4408" y="43891"/>
                  </a:lnTo>
                  <a:lnTo>
                    <a:pt x="3849" y="42339"/>
                  </a:lnTo>
                  <a:lnTo>
                    <a:pt x="3414" y="40787"/>
                  </a:lnTo>
                  <a:lnTo>
                    <a:pt x="2980" y="39235"/>
                  </a:lnTo>
                  <a:lnTo>
                    <a:pt x="2669" y="37621"/>
                  </a:lnTo>
                  <a:lnTo>
                    <a:pt x="2421" y="36007"/>
                  </a:lnTo>
                  <a:lnTo>
                    <a:pt x="2235" y="34393"/>
                  </a:lnTo>
                  <a:lnTo>
                    <a:pt x="2111" y="32716"/>
                  </a:lnTo>
                  <a:lnTo>
                    <a:pt x="2111" y="31102"/>
                  </a:lnTo>
                  <a:lnTo>
                    <a:pt x="2111" y="29550"/>
                  </a:lnTo>
                  <a:lnTo>
                    <a:pt x="2235" y="28060"/>
                  </a:lnTo>
                  <a:lnTo>
                    <a:pt x="2359" y="26633"/>
                  </a:lnTo>
                  <a:lnTo>
                    <a:pt x="2607" y="25205"/>
                  </a:lnTo>
                  <a:lnTo>
                    <a:pt x="2856" y="23777"/>
                  </a:lnTo>
                  <a:lnTo>
                    <a:pt x="3228" y="22411"/>
                  </a:lnTo>
                  <a:lnTo>
                    <a:pt x="3601" y="21108"/>
                  </a:lnTo>
                  <a:lnTo>
                    <a:pt x="4035" y="19804"/>
                  </a:lnTo>
                  <a:lnTo>
                    <a:pt x="4594" y="18562"/>
                  </a:lnTo>
                  <a:lnTo>
                    <a:pt x="5153" y="17383"/>
                  </a:lnTo>
                  <a:lnTo>
                    <a:pt x="5773" y="16203"/>
                  </a:lnTo>
                  <a:lnTo>
                    <a:pt x="6394" y="15086"/>
                  </a:lnTo>
                  <a:lnTo>
                    <a:pt x="7139" y="14031"/>
                  </a:lnTo>
                  <a:lnTo>
                    <a:pt x="7884" y="12975"/>
                  </a:lnTo>
                  <a:lnTo>
                    <a:pt x="8691" y="12044"/>
                  </a:lnTo>
                  <a:lnTo>
                    <a:pt x="9560" y="11051"/>
                  </a:lnTo>
                  <a:lnTo>
                    <a:pt x="10429" y="10182"/>
                  </a:lnTo>
                  <a:lnTo>
                    <a:pt x="11360" y="9375"/>
                  </a:lnTo>
                  <a:lnTo>
                    <a:pt x="12354" y="8568"/>
                  </a:lnTo>
                  <a:lnTo>
                    <a:pt x="13347" y="7823"/>
                  </a:lnTo>
                  <a:lnTo>
                    <a:pt x="14402" y="7140"/>
                  </a:lnTo>
                  <a:lnTo>
                    <a:pt x="15520" y="6519"/>
                  </a:lnTo>
                  <a:lnTo>
                    <a:pt x="16637" y="5898"/>
                  </a:lnTo>
                  <a:lnTo>
                    <a:pt x="17755" y="5402"/>
                  </a:lnTo>
                  <a:lnTo>
                    <a:pt x="18996" y="4967"/>
                  </a:lnTo>
                  <a:lnTo>
                    <a:pt x="20176" y="4533"/>
                  </a:lnTo>
                  <a:lnTo>
                    <a:pt x="21417" y="4160"/>
                  </a:lnTo>
                  <a:lnTo>
                    <a:pt x="22721" y="3912"/>
                  </a:lnTo>
                  <a:lnTo>
                    <a:pt x="24025" y="3663"/>
                  </a:lnTo>
                  <a:lnTo>
                    <a:pt x="25390" y="3539"/>
                  </a:lnTo>
                  <a:lnTo>
                    <a:pt x="26694" y="3415"/>
                  </a:lnTo>
                  <a:lnTo>
                    <a:pt x="28122" y="3415"/>
                  </a:lnTo>
                  <a:lnTo>
                    <a:pt x="30108" y="3477"/>
                  </a:lnTo>
                  <a:lnTo>
                    <a:pt x="32033" y="3663"/>
                  </a:lnTo>
                  <a:lnTo>
                    <a:pt x="33771" y="3912"/>
                  </a:lnTo>
                  <a:lnTo>
                    <a:pt x="35447" y="4346"/>
                  </a:lnTo>
                  <a:lnTo>
                    <a:pt x="36999" y="4781"/>
                  </a:lnTo>
                  <a:lnTo>
                    <a:pt x="38489" y="5340"/>
                  </a:lnTo>
                  <a:lnTo>
                    <a:pt x="39855" y="5960"/>
                  </a:lnTo>
                  <a:lnTo>
                    <a:pt x="41096" y="6643"/>
                  </a:lnTo>
                  <a:lnTo>
                    <a:pt x="42276" y="7326"/>
                  </a:lnTo>
                  <a:lnTo>
                    <a:pt x="43331" y="8071"/>
                  </a:lnTo>
                  <a:lnTo>
                    <a:pt x="44324" y="8816"/>
                  </a:lnTo>
                  <a:lnTo>
                    <a:pt x="45256" y="9499"/>
                  </a:lnTo>
                  <a:lnTo>
                    <a:pt x="46870" y="10927"/>
                  </a:lnTo>
                  <a:lnTo>
                    <a:pt x="48173" y="12230"/>
                  </a:lnTo>
                  <a:lnTo>
                    <a:pt x="45876" y="15955"/>
                  </a:lnTo>
                  <a:lnTo>
                    <a:pt x="49167" y="15210"/>
                  </a:lnTo>
                  <a:lnTo>
                    <a:pt x="56927" y="7823"/>
                  </a:lnTo>
                  <a:lnTo>
                    <a:pt x="55126" y="6581"/>
                  </a:lnTo>
                  <a:lnTo>
                    <a:pt x="53947" y="5836"/>
                  </a:lnTo>
                  <a:lnTo>
                    <a:pt x="52581" y="5091"/>
                  </a:lnTo>
                  <a:lnTo>
                    <a:pt x="51029" y="4346"/>
                  </a:lnTo>
                  <a:lnTo>
                    <a:pt x="49167" y="3539"/>
                  </a:lnTo>
                  <a:lnTo>
                    <a:pt x="46994" y="2732"/>
                  </a:lnTo>
                  <a:lnTo>
                    <a:pt x="44511" y="1987"/>
                  </a:lnTo>
                  <a:lnTo>
                    <a:pt x="42835" y="1553"/>
                  </a:lnTo>
                  <a:lnTo>
                    <a:pt x="41158" y="1180"/>
                  </a:lnTo>
                  <a:lnTo>
                    <a:pt x="39358" y="808"/>
                  </a:lnTo>
                  <a:lnTo>
                    <a:pt x="37620" y="559"/>
                  </a:lnTo>
                  <a:lnTo>
                    <a:pt x="35758" y="311"/>
                  </a:lnTo>
                  <a:lnTo>
                    <a:pt x="33957" y="125"/>
                  </a:lnTo>
                  <a:lnTo>
                    <a:pt x="32033" y="63"/>
                  </a:lnTo>
                  <a:lnTo>
                    <a:pt x="30170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199" name="Shape 199"/>
            <p:cNvSpPr/>
            <p:nvPr/>
          </p:nvSpPr>
          <p:spPr>
            <a:xfrm>
              <a:off x="8013824" y="4853348"/>
              <a:ext cx="945199" cy="2534611"/>
            </a:xfrm>
            <a:custGeom>
              <a:avLst/>
              <a:gdLst/>
              <a:ahLst/>
              <a:cxnLst/>
              <a:rect l="0" t="0" r="0" b="0"/>
              <a:pathLst>
                <a:path w="24771" h="66425" extrusionOk="0">
                  <a:moveTo>
                    <a:pt x="7078" y="0"/>
                  </a:moveTo>
                  <a:lnTo>
                    <a:pt x="1" y="3414"/>
                  </a:lnTo>
                  <a:lnTo>
                    <a:pt x="7202" y="3414"/>
                  </a:lnTo>
                  <a:lnTo>
                    <a:pt x="7202" y="58354"/>
                  </a:lnTo>
                  <a:lnTo>
                    <a:pt x="7202" y="61458"/>
                  </a:lnTo>
                  <a:lnTo>
                    <a:pt x="7202" y="62079"/>
                  </a:lnTo>
                  <a:lnTo>
                    <a:pt x="7140" y="62638"/>
                  </a:lnTo>
                  <a:lnTo>
                    <a:pt x="6954" y="63134"/>
                  </a:lnTo>
                  <a:lnTo>
                    <a:pt x="6768" y="63569"/>
                  </a:lnTo>
                  <a:lnTo>
                    <a:pt x="6395" y="64128"/>
                  </a:lnTo>
                  <a:lnTo>
                    <a:pt x="5961" y="64748"/>
                  </a:lnTo>
                  <a:lnTo>
                    <a:pt x="4657" y="66424"/>
                  </a:lnTo>
                  <a:lnTo>
                    <a:pt x="21294" y="66424"/>
                  </a:lnTo>
                  <a:lnTo>
                    <a:pt x="24771" y="64376"/>
                  </a:lnTo>
                  <a:lnTo>
                    <a:pt x="22349" y="64128"/>
                  </a:lnTo>
                  <a:lnTo>
                    <a:pt x="19990" y="63879"/>
                  </a:lnTo>
                  <a:lnTo>
                    <a:pt x="18935" y="63755"/>
                  </a:lnTo>
                  <a:lnTo>
                    <a:pt x="18066" y="63569"/>
                  </a:lnTo>
                  <a:lnTo>
                    <a:pt x="17756" y="63445"/>
                  </a:lnTo>
                  <a:lnTo>
                    <a:pt x="17445" y="63321"/>
                  </a:lnTo>
                  <a:lnTo>
                    <a:pt x="17135" y="63134"/>
                  </a:lnTo>
                  <a:lnTo>
                    <a:pt x="16949" y="62886"/>
                  </a:lnTo>
                  <a:lnTo>
                    <a:pt x="16762" y="62638"/>
                  </a:lnTo>
                  <a:lnTo>
                    <a:pt x="16576" y="62327"/>
                  </a:lnTo>
                  <a:lnTo>
                    <a:pt x="16452" y="62017"/>
                  </a:lnTo>
                  <a:lnTo>
                    <a:pt x="16390" y="61582"/>
                  </a:lnTo>
                  <a:lnTo>
                    <a:pt x="16266" y="60651"/>
                  </a:lnTo>
                  <a:lnTo>
                    <a:pt x="16204" y="59410"/>
                  </a:lnTo>
                  <a:lnTo>
                    <a:pt x="16204" y="58354"/>
                  </a:lnTo>
                  <a:lnTo>
                    <a:pt x="16204" y="6146"/>
                  </a:lnTo>
                  <a:lnTo>
                    <a:pt x="16266" y="5587"/>
                  </a:lnTo>
                  <a:lnTo>
                    <a:pt x="16452" y="4470"/>
                  </a:lnTo>
                  <a:lnTo>
                    <a:pt x="16700" y="3539"/>
                  </a:lnTo>
                  <a:lnTo>
                    <a:pt x="17011" y="2794"/>
                  </a:lnTo>
                  <a:lnTo>
                    <a:pt x="17445" y="2173"/>
                  </a:lnTo>
                  <a:lnTo>
                    <a:pt x="18004" y="1676"/>
                  </a:lnTo>
                  <a:lnTo>
                    <a:pt x="18687" y="1117"/>
                  </a:lnTo>
                  <a:lnTo>
                    <a:pt x="19494" y="621"/>
                  </a:lnTo>
                  <a:lnTo>
                    <a:pt x="20487" y="0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  <p:sp>
          <p:nvSpPr>
            <p:cNvPr id="200" name="Shape 200"/>
            <p:cNvSpPr/>
            <p:nvPr/>
          </p:nvSpPr>
          <p:spPr>
            <a:xfrm>
              <a:off x="8985007" y="5743946"/>
              <a:ext cx="1165482" cy="1712661"/>
            </a:xfrm>
            <a:custGeom>
              <a:avLst/>
              <a:gdLst/>
              <a:ahLst/>
              <a:cxnLst/>
              <a:rect l="0" t="0" r="0" b="0"/>
              <a:pathLst>
                <a:path w="30544" h="44884" extrusionOk="0">
                  <a:moveTo>
                    <a:pt x="18748" y="3105"/>
                  </a:moveTo>
                  <a:lnTo>
                    <a:pt x="19679" y="3167"/>
                  </a:lnTo>
                  <a:lnTo>
                    <a:pt x="20549" y="3291"/>
                  </a:lnTo>
                  <a:lnTo>
                    <a:pt x="21480" y="3539"/>
                  </a:lnTo>
                  <a:lnTo>
                    <a:pt x="22287" y="3788"/>
                  </a:lnTo>
                  <a:lnTo>
                    <a:pt x="23094" y="4222"/>
                  </a:lnTo>
                  <a:lnTo>
                    <a:pt x="23839" y="4657"/>
                  </a:lnTo>
                  <a:lnTo>
                    <a:pt x="24584" y="5153"/>
                  </a:lnTo>
                  <a:lnTo>
                    <a:pt x="25267" y="5712"/>
                  </a:lnTo>
                  <a:lnTo>
                    <a:pt x="25825" y="6271"/>
                  </a:lnTo>
                  <a:lnTo>
                    <a:pt x="26384" y="6954"/>
                  </a:lnTo>
                  <a:lnTo>
                    <a:pt x="26819" y="7574"/>
                  </a:lnTo>
                  <a:lnTo>
                    <a:pt x="27253" y="8257"/>
                  </a:lnTo>
                  <a:lnTo>
                    <a:pt x="27564" y="9002"/>
                  </a:lnTo>
                  <a:lnTo>
                    <a:pt x="27750" y="9685"/>
                  </a:lnTo>
                  <a:lnTo>
                    <a:pt x="27936" y="10430"/>
                  </a:lnTo>
                  <a:lnTo>
                    <a:pt x="27998" y="11113"/>
                  </a:lnTo>
                  <a:lnTo>
                    <a:pt x="27936" y="11547"/>
                  </a:lnTo>
                  <a:lnTo>
                    <a:pt x="27812" y="11982"/>
                  </a:lnTo>
                  <a:lnTo>
                    <a:pt x="27564" y="12292"/>
                  </a:lnTo>
                  <a:lnTo>
                    <a:pt x="27253" y="12603"/>
                  </a:lnTo>
                  <a:lnTo>
                    <a:pt x="26881" y="12913"/>
                  </a:lnTo>
                  <a:lnTo>
                    <a:pt x="26446" y="13161"/>
                  </a:lnTo>
                  <a:lnTo>
                    <a:pt x="25267" y="13658"/>
                  </a:lnTo>
                  <a:lnTo>
                    <a:pt x="8319" y="20983"/>
                  </a:lnTo>
                  <a:lnTo>
                    <a:pt x="8133" y="18500"/>
                  </a:lnTo>
                  <a:lnTo>
                    <a:pt x="8009" y="17259"/>
                  </a:lnTo>
                  <a:lnTo>
                    <a:pt x="8009" y="16079"/>
                  </a:lnTo>
                  <a:lnTo>
                    <a:pt x="8009" y="15148"/>
                  </a:lnTo>
                  <a:lnTo>
                    <a:pt x="8071" y="14279"/>
                  </a:lnTo>
                  <a:lnTo>
                    <a:pt x="8195" y="13410"/>
                  </a:lnTo>
                  <a:lnTo>
                    <a:pt x="8319" y="12603"/>
                  </a:lnTo>
                  <a:lnTo>
                    <a:pt x="8505" y="11858"/>
                  </a:lnTo>
                  <a:lnTo>
                    <a:pt x="8691" y="11113"/>
                  </a:lnTo>
                  <a:lnTo>
                    <a:pt x="8878" y="10430"/>
                  </a:lnTo>
                  <a:lnTo>
                    <a:pt x="9188" y="9809"/>
                  </a:lnTo>
                  <a:lnTo>
                    <a:pt x="9436" y="9188"/>
                  </a:lnTo>
                  <a:lnTo>
                    <a:pt x="9747" y="8568"/>
                  </a:lnTo>
                  <a:lnTo>
                    <a:pt x="10430" y="7512"/>
                  </a:lnTo>
                  <a:lnTo>
                    <a:pt x="11175" y="6581"/>
                  </a:lnTo>
                  <a:lnTo>
                    <a:pt x="11982" y="5774"/>
                  </a:lnTo>
                  <a:lnTo>
                    <a:pt x="12789" y="5091"/>
                  </a:lnTo>
                  <a:lnTo>
                    <a:pt x="13720" y="4532"/>
                  </a:lnTo>
                  <a:lnTo>
                    <a:pt x="14589" y="4098"/>
                  </a:lnTo>
                  <a:lnTo>
                    <a:pt x="15458" y="3725"/>
                  </a:lnTo>
                  <a:lnTo>
                    <a:pt x="16327" y="3415"/>
                  </a:lnTo>
                  <a:lnTo>
                    <a:pt x="17196" y="3229"/>
                  </a:lnTo>
                  <a:lnTo>
                    <a:pt x="18003" y="3105"/>
                  </a:lnTo>
                  <a:close/>
                  <a:moveTo>
                    <a:pt x="21356" y="1"/>
                  </a:moveTo>
                  <a:lnTo>
                    <a:pt x="20424" y="63"/>
                  </a:lnTo>
                  <a:lnTo>
                    <a:pt x="19493" y="125"/>
                  </a:lnTo>
                  <a:lnTo>
                    <a:pt x="18624" y="187"/>
                  </a:lnTo>
                  <a:lnTo>
                    <a:pt x="17693" y="373"/>
                  </a:lnTo>
                  <a:lnTo>
                    <a:pt x="16762" y="559"/>
                  </a:lnTo>
                  <a:lnTo>
                    <a:pt x="15831" y="746"/>
                  </a:lnTo>
                  <a:lnTo>
                    <a:pt x="14899" y="1056"/>
                  </a:lnTo>
                  <a:lnTo>
                    <a:pt x="13968" y="1366"/>
                  </a:lnTo>
                  <a:lnTo>
                    <a:pt x="13037" y="1677"/>
                  </a:lnTo>
                  <a:lnTo>
                    <a:pt x="12106" y="2111"/>
                  </a:lnTo>
                  <a:lnTo>
                    <a:pt x="11237" y="2546"/>
                  </a:lnTo>
                  <a:lnTo>
                    <a:pt x="10368" y="3043"/>
                  </a:lnTo>
                  <a:lnTo>
                    <a:pt x="9498" y="3539"/>
                  </a:lnTo>
                  <a:lnTo>
                    <a:pt x="8691" y="4098"/>
                  </a:lnTo>
                  <a:lnTo>
                    <a:pt x="7884" y="4719"/>
                  </a:lnTo>
                  <a:lnTo>
                    <a:pt x="7077" y="5339"/>
                  </a:lnTo>
                  <a:lnTo>
                    <a:pt x="6332" y="6084"/>
                  </a:lnTo>
                  <a:lnTo>
                    <a:pt x="5588" y="6767"/>
                  </a:lnTo>
                  <a:lnTo>
                    <a:pt x="4905" y="7574"/>
                  </a:lnTo>
                  <a:lnTo>
                    <a:pt x="4222" y="8381"/>
                  </a:lnTo>
                  <a:lnTo>
                    <a:pt x="3601" y="9250"/>
                  </a:lnTo>
                  <a:lnTo>
                    <a:pt x="2980" y="10182"/>
                  </a:lnTo>
                  <a:lnTo>
                    <a:pt x="2484" y="11113"/>
                  </a:lnTo>
                  <a:lnTo>
                    <a:pt x="1987" y="12106"/>
                  </a:lnTo>
                  <a:lnTo>
                    <a:pt x="1552" y="13099"/>
                  </a:lnTo>
                  <a:lnTo>
                    <a:pt x="1118" y="14217"/>
                  </a:lnTo>
                  <a:lnTo>
                    <a:pt x="807" y="15334"/>
                  </a:lnTo>
                  <a:lnTo>
                    <a:pt x="497" y="16452"/>
                  </a:lnTo>
                  <a:lnTo>
                    <a:pt x="311" y="17693"/>
                  </a:lnTo>
                  <a:lnTo>
                    <a:pt x="125" y="18935"/>
                  </a:lnTo>
                  <a:lnTo>
                    <a:pt x="0" y="20238"/>
                  </a:lnTo>
                  <a:lnTo>
                    <a:pt x="0" y="21542"/>
                  </a:lnTo>
                  <a:lnTo>
                    <a:pt x="0" y="22908"/>
                  </a:lnTo>
                  <a:lnTo>
                    <a:pt x="125" y="24211"/>
                  </a:lnTo>
                  <a:lnTo>
                    <a:pt x="311" y="25577"/>
                  </a:lnTo>
                  <a:lnTo>
                    <a:pt x="559" y="26943"/>
                  </a:lnTo>
                  <a:lnTo>
                    <a:pt x="870" y="28309"/>
                  </a:lnTo>
                  <a:lnTo>
                    <a:pt x="1242" y="29612"/>
                  </a:lnTo>
                  <a:lnTo>
                    <a:pt x="1739" y="30978"/>
                  </a:lnTo>
                  <a:lnTo>
                    <a:pt x="2235" y="32282"/>
                  </a:lnTo>
                  <a:lnTo>
                    <a:pt x="2856" y="33585"/>
                  </a:lnTo>
                  <a:lnTo>
                    <a:pt x="3601" y="34827"/>
                  </a:lnTo>
                  <a:lnTo>
                    <a:pt x="4346" y="36006"/>
                  </a:lnTo>
                  <a:lnTo>
                    <a:pt x="5215" y="37186"/>
                  </a:lnTo>
                  <a:lnTo>
                    <a:pt x="6146" y="38303"/>
                  </a:lnTo>
                  <a:lnTo>
                    <a:pt x="7202" y="39359"/>
                  </a:lnTo>
                  <a:lnTo>
                    <a:pt x="8319" y="40352"/>
                  </a:lnTo>
                  <a:lnTo>
                    <a:pt x="9498" y="41221"/>
                  </a:lnTo>
                  <a:lnTo>
                    <a:pt x="10368" y="41842"/>
                  </a:lnTo>
                  <a:lnTo>
                    <a:pt x="11299" y="42401"/>
                  </a:lnTo>
                  <a:lnTo>
                    <a:pt x="12168" y="42835"/>
                  </a:lnTo>
                  <a:lnTo>
                    <a:pt x="13037" y="43270"/>
                  </a:lnTo>
                  <a:lnTo>
                    <a:pt x="13906" y="43580"/>
                  </a:lnTo>
                  <a:lnTo>
                    <a:pt x="14713" y="43891"/>
                  </a:lnTo>
                  <a:lnTo>
                    <a:pt x="15582" y="44139"/>
                  </a:lnTo>
                  <a:lnTo>
                    <a:pt x="16389" y="44325"/>
                  </a:lnTo>
                  <a:lnTo>
                    <a:pt x="17941" y="44635"/>
                  </a:lnTo>
                  <a:lnTo>
                    <a:pt x="19369" y="44822"/>
                  </a:lnTo>
                  <a:lnTo>
                    <a:pt x="20735" y="44884"/>
                  </a:lnTo>
                  <a:lnTo>
                    <a:pt x="22908" y="44884"/>
                  </a:lnTo>
                  <a:lnTo>
                    <a:pt x="23963" y="44822"/>
                  </a:lnTo>
                  <a:lnTo>
                    <a:pt x="25018" y="44698"/>
                  </a:lnTo>
                  <a:lnTo>
                    <a:pt x="26136" y="44573"/>
                  </a:lnTo>
                  <a:lnTo>
                    <a:pt x="27191" y="44325"/>
                  </a:lnTo>
                  <a:lnTo>
                    <a:pt x="28308" y="44077"/>
                  </a:lnTo>
                  <a:lnTo>
                    <a:pt x="29426" y="43704"/>
                  </a:lnTo>
                  <a:lnTo>
                    <a:pt x="30543" y="43270"/>
                  </a:lnTo>
                  <a:lnTo>
                    <a:pt x="30543" y="39793"/>
                  </a:lnTo>
                  <a:lnTo>
                    <a:pt x="29115" y="39980"/>
                  </a:lnTo>
                  <a:lnTo>
                    <a:pt x="27564" y="40042"/>
                  </a:lnTo>
                  <a:lnTo>
                    <a:pt x="26756" y="39980"/>
                  </a:lnTo>
                  <a:lnTo>
                    <a:pt x="25949" y="39917"/>
                  </a:lnTo>
                  <a:lnTo>
                    <a:pt x="25142" y="39855"/>
                  </a:lnTo>
                  <a:lnTo>
                    <a:pt x="24335" y="39731"/>
                  </a:lnTo>
                  <a:lnTo>
                    <a:pt x="23528" y="39545"/>
                  </a:lnTo>
                  <a:lnTo>
                    <a:pt x="22721" y="39297"/>
                  </a:lnTo>
                  <a:lnTo>
                    <a:pt x="21976" y="39048"/>
                  </a:lnTo>
                  <a:lnTo>
                    <a:pt x="21169" y="38738"/>
                  </a:lnTo>
                  <a:lnTo>
                    <a:pt x="20424" y="38428"/>
                  </a:lnTo>
                  <a:lnTo>
                    <a:pt x="19679" y="38055"/>
                  </a:lnTo>
                  <a:lnTo>
                    <a:pt x="18935" y="37683"/>
                  </a:lnTo>
                  <a:lnTo>
                    <a:pt x="18252" y="37186"/>
                  </a:lnTo>
                  <a:lnTo>
                    <a:pt x="17507" y="36751"/>
                  </a:lnTo>
                  <a:lnTo>
                    <a:pt x="16824" y="36255"/>
                  </a:lnTo>
                  <a:lnTo>
                    <a:pt x="16203" y="35696"/>
                  </a:lnTo>
                  <a:lnTo>
                    <a:pt x="15520" y="35075"/>
                  </a:lnTo>
                  <a:lnTo>
                    <a:pt x="14899" y="34455"/>
                  </a:lnTo>
                  <a:lnTo>
                    <a:pt x="14279" y="33834"/>
                  </a:lnTo>
                  <a:lnTo>
                    <a:pt x="13720" y="33151"/>
                  </a:lnTo>
                  <a:lnTo>
                    <a:pt x="13161" y="32406"/>
                  </a:lnTo>
                  <a:lnTo>
                    <a:pt x="12602" y="31661"/>
                  </a:lnTo>
                  <a:lnTo>
                    <a:pt x="12106" y="30854"/>
                  </a:lnTo>
                  <a:lnTo>
                    <a:pt x="11609" y="30047"/>
                  </a:lnTo>
                  <a:lnTo>
                    <a:pt x="11113" y="29178"/>
                  </a:lnTo>
                  <a:lnTo>
                    <a:pt x="10678" y="28309"/>
                  </a:lnTo>
                  <a:lnTo>
                    <a:pt x="10243" y="27378"/>
                  </a:lnTo>
                  <a:lnTo>
                    <a:pt x="9871" y="26446"/>
                  </a:lnTo>
                  <a:lnTo>
                    <a:pt x="9498" y="25453"/>
                  </a:lnTo>
                  <a:lnTo>
                    <a:pt x="9188" y="24460"/>
                  </a:lnTo>
                  <a:lnTo>
                    <a:pt x="8878" y="23467"/>
                  </a:lnTo>
                  <a:lnTo>
                    <a:pt x="8629" y="22349"/>
                  </a:lnTo>
                  <a:lnTo>
                    <a:pt x="8381" y="21294"/>
                  </a:lnTo>
                  <a:lnTo>
                    <a:pt x="15582" y="20735"/>
                  </a:lnTo>
                  <a:lnTo>
                    <a:pt x="30543" y="14651"/>
                  </a:lnTo>
                  <a:lnTo>
                    <a:pt x="30543" y="2360"/>
                  </a:lnTo>
                  <a:lnTo>
                    <a:pt x="29488" y="1801"/>
                  </a:lnTo>
                  <a:lnTo>
                    <a:pt x="28371" y="1304"/>
                  </a:lnTo>
                  <a:lnTo>
                    <a:pt x="27253" y="932"/>
                  </a:lnTo>
                  <a:lnTo>
                    <a:pt x="26136" y="621"/>
                  </a:lnTo>
                  <a:lnTo>
                    <a:pt x="24956" y="311"/>
                  </a:lnTo>
                  <a:lnTo>
                    <a:pt x="23715" y="187"/>
                  </a:lnTo>
                  <a:lnTo>
                    <a:pt x="22535" y="63"/>
                  </a:lnTo>
                  <a:lnTo>
                    <a:pt x="21356" y="1"/>
                  </a:lnTo>
                  <a:close/>
                </a:path>
              </a:pathLst>
            </a:custGeom>
            <a:solidFill>
              <a:srgbClr val="FFFFFF">
                <a:alpha val="14509"/>
              </a:srgbClr>
            </a:solidFill>
            <a:ln>
              <a:noFill/>
            </a:ln>
          </p:spPr>
          <p:txBody>
            <a:bodyPr lIns="91425" tIns="91425" rIns="91425" bIns="91425" anchor="ctr" anchorCtr="0">
              <a:spAutoFit/>
            </a:bodyPr>
            <a:lstStyle/>
            <a:p>
              <a:endParaRPr/>
            </a:p>
          </p:txBody>
        </p:sp>
      </p:grpSp>
      <p:sp>
        <p:nvSpPr>
          <p:cNvPr id="201" name="Shape 201"/>
          <p:cNvSpPr/>
          <p:nvPr/>
        </p:nvSpPr>
        <p:spPr>
          <a:xfrm>
            <a:off x="5788151" y="640080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buNone/>
            </a:pPr>
            <a:r>
              <a:rPr lang="en" sz="7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6705599" cy="901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228600" algn="l" rtl="0">
              <a:spcBef>
                <a:spcPts val="0"/>
              </a:spcBef>
              <a:buClr>
                <a:schemeClr val="dk2"/>
              </a:buClr>
              <a:buSzPct val="100000"/>
              <a:buFont typeface="Arial"/>
              <a:buNone/>
              <a:defRPr sz="3600" b="1" i="0" u="none" strike="noStrike" cap="none" baseline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830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indent="-342900" algn="l" rtl="0">
              <a:spcBef>
                <a:spcPts val="480"/>
              </a:spcBef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indent="-285750" algn="l" rtl="0">
              <a:spcBef>
                <a:spcPts val="480"/>
              </a:spcBef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indent="-228600" algn="l" rtl="0">
              <a:spcBef>
                <a:spcPts val="480"/>
              </a:spcBef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indent="-228600" algn="l" rtl="0">
              <a:spcBef>
                <a:spcPts val="360"/>
              </a:spcBef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indent="-228600" algn="l" rtl="0">
              <a:spcBef>
                <a:spcPts val="360"/>
              </a:spcBef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indent="-228600" algn="l" rtl="0">
              <a:spcBef>
                <a:spcPts val="360"/>
              </a:spcBef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indent="-228600" algn="l" rtl="0">
              <a:spcBef>
                <a:spcPts val="360"/>
              </a:spcBef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indent="-228600" algn="l" rtl="0">
              <a:spcBef>
                <a:spcPts val="360"/>
              </a:spcBef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indent="-228600" algn="l" rtl="0">
              <a:spcBef>
                <a:spcPts val="360"/>
              </a:spcBef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5791200" y="6356350"/>
            <a:ext cx="2895600" cy="365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indent="0" algn="r" rtl="0">
              <a:defRPr sz="700" b="0" i="0" u="none" strike="noStrike" cap="none" baseline="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71" r:id="rId11"/>
  </p:sldLayoutIdLst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Shape 215"/>
          <p:cNvSpPr txBox="1">
            <a:spLocks noGrp="1"/>
          </p:cNvSpPr>
          <p:nvPr>
            <p:ph type="body" idx="1"/>
          </p:nvPr>
        </p:nvSpPr>
        <p:spPr>
          <a:xfrm>
            <a:off x="457200" y="1219200"/>
            <a:ext cx="8229600" cy="518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2200"/>
              </a:spcBef>
              <a:spcAft>
                <a:spcPts val="110"/>
              </a:spcAft>
              <a:defRPr sz="2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30188" marR="0" indent="-153988" algn="l" rtl="0">
              <a:lnSpc>
                <a:spcPct val="95000"/>
              </a:lnSpc>
              <a:spcBef>
                <a:spcPts val="900"/>
              </a:spcBef>
              <a:spcAft>
                <a:spcPts val="10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58788" marR="0" indent="-160337" algn="l" rtl="0">
              <a:lnSpc>
                <a:spcPct val="95000"/>
              </a:lnSpc>
              <a:spcBef>
                <a:spcPts val="810"/>
              </a:spcBef>
              <a:spcAft>
                <a:spcPts val="90"/>
              </a:spcAft>
              <a:buClr>
                <a:schemeClr val="dk1"/>
              </a:buClr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842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9128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370013" marR="0" indent="-166687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8272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2844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1613" marR="0" indent="-166688" algn="l" rtl="0">
              <a:lnSpc>
                <a:spcPct val="95000"/>
              </a:lnSpc>
              <a:spcBef>
                <a:spcPts val="720"/>
              </a:spcBef>
              <a:spcAft>
                <a:spcPts val="80"/>
              </a:spcAft>
              <a:buClr>
                <a:schemeClr val="dk1"/>
              </a:buClr>
              <a:buFont typeface="Arial"/>
              <a:buChar char="•"/>
              <a:defRPr sz="16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Shape 216"/>
          <p:cNvSpPr txBox="1">
            <a:spLocks noGrp="1"/>
          </p:cNvSpPr>
          <p:nvPr>
            <p:ph type="title"/>
          </p:nvPr>
        </p:nvSpPr>
        <p:spPr>
          <a:xfrm>
            <a:off x="457200" y="361950"/>
            <a:ext cx="8229600" cy="4762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7" name="Shape 217"/>
          <p:cNvSpPr/>
          <p:nvPr/>
        </p:nvSpPr>
        <p:spPr>
          <a:xfrm>
            <a:off x="6877050" y="6400800"/>
            <a:ext cx="1809750" cy="20796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"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ogle Confidential and Proprietary</a:t>
            </a:r>
          </a:p>
        </p:txBody>
      </p:sp>
      <p:sp>
        <p:nvSpPr>
          <p:cNvPr id="218" name="Shape 218"/>
          <p:cNvSpPr txBox="1">
            <a:spLocks noGrp="1"/>
          </p:cNvSpPr>
          <p:nvPr>
            <p:ph type="ftr" idx="11"/>
          </p:nvPr>
        </p:nvSpPr>
        <p:spPr>
          <a:xfrm>
            <a:off x="457200" y="6400800"/>
            <a:ext cx="60960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9" name="Shape 219"/>
          <p:cNvSpPr txBox="1">
            <a:spLocks noGrp="1"/>
          </p:cNvSpPr>
          <p:nvPr>
            <p:ph type="sldNum" idx="12"/>
          </p:nvPr>
        </p:nvSpPr>
        <p:spPr>
          <a:xfrm>
            <a:off x="8686800" y="6400800"/>
            <a:ext cx="457200" cy="20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</p:sldLayoutIdLst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aseda@kenet.or.k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hyperlink" Target="mailto:jkaranja@kenet.or.ke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tnewsafrica.com/2012/04/africas-top-ten-countries-with-fastest-internet-speeds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enet.or.ke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26" Type="http://schemas.openxmlformats.org/officeDocument/2006/relationships/tags" Target="../tags/tag126.xml"/><Relationship Id="rId134" Type="http://schemas.openxmlformats.org/officeDocument/2006/relationships/tags" Target="../tags/tag13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137" Type="http://schemas.openxmlformats.org/officeDocument/2006/relationships/notesSlide" Target="../notesSlides/notesSlide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slideLayout" Target="../slideLayouts/slideLayout2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Shape 524"/>
          <p:cNvSpPr txBox="1">
            <a:spLocks noGrp="1"/>
          </p:cNvSpPr>
          <p:nvPr>
            <p:ph type="ctrTitle"/>
          </p:nvPr>
        </p:nvSpPr>
        <p:spPr>
          <a:xfrm>
            <a:off x="367618" y="2010101"/>
            <a:ext cx="8404199" cy="923299"/>
          </a:xfrm>
          <a:prstGeom prst="rect">
            <a:avLst/>
          </a:prstGeom>
          <a:solidFill>
            <a:srgbClr val="FFFFFF"/>
          </a:solidFill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2400" dirty="0" smtClean="0"/>
              <a:t>Research </a:t>
            </a:r>
            <a:r>
              <a:rPr lang="en-US" sz="2400" dirty="0"/>
              <a:t>and Education </a:t>
            </a:r>
            <a:r>
              <a:rPr lang="en-US" sz="2400" dirty="0" smtClean="0"/>
              <a:t>Network In Africa </a:t>
            </a:r>
            <a:br>
              <a:rPr lang="en-US" sz="2400" dirty="0" smtClean="0"/>
            </a:br>
            <a:r>
              <a:rPr lang="en-US" sz="2400" dirty="0"/>
              <a:t>	</a:t>
            </a:r>
            <a:r>
              <a:rPr lang="en-US" sz="2400" dirty="0" smtClean="0"/>
              <a:t>		– The KENET Story </a:t>
            </a:r>
            <a:endParaRPr lang="en" sz="2400" dirty="0">
              <a:solidFill>
                <a:srgbClr val="66666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5" name="Shape 525"/>
          <p:cNvSpPr txBox="1">
            <a:spLocks noGrp="1"/>
          </p:cNvSpPr>
          <p:nvPr>
            <p:ph type="subTitle" idx="1"/>
          </p:nvPr>
        </p:nvSpPr>
        <p:spPr>
          <a:xfrm>
            <a:off x="367618" y="2836258"/>
            <a:ext cx="8138099" cy="1569630"/>
          </a:xfrm>
          <a:prstGeom prst="rect">
            <a:avLst/>
          </a:prstGeom>
          <a:solidFill>
            <a:srgbClr val="FFFFFF"/>
          </a:solidFill>
        </p:spPr>
        <p:txBody>
          <a:bodyPr lIns="91425" tIns="91425" rIns="91425" bIns="91425" anchor="t" anchorCtr="0">
            <a:spAutoFit/>
          </a:bodyPr>
          <a:lstStyle/>
          <a:p>
            <a:pPr lvl="0" rtl="0">
              <a:buNone/>
            </a:pPr>
            <a:r>
              <a:rPr lang="en" dirty="0" smtClean="0"/>
              <a:t>
</a:t>
            </a:r>
            <a:r>
              <a:rPr lang="en" dirty="0" smtClean="0">
                <a:solidFill>
                  <a:srgbClr val="666666"/>
                </a:solidFill>
              </a:rPr>
              <a:t>Kennedy Aseda                                                        Josphat Karanja</a:t>
            </a:r>
            <a:endParaRPr lang="en" dirty="0">
              <a:solidFill>
                <a:srgbClr val="666666"/>
              </a:solidFill>
            </a:endParaRPr>
          </a:p>
          <a:p>
            <a:pPr lvl="0" rtl="0">
              <a:buNone/>
            </a:pPr>
            <a:r>
              <a:rPr lang="en" dirty="0" smtClean="0">
                <a:solidFill>
                  <a:srgbClr val="666666"/>
                </a:solidFill>
                <a:hlinkClick r:id="rId3"/>
              </a:rPr>
              <a:t>kaseda@kenet.or.ke</a:t>
            </a:r>
            <a:r>
              <a:rPr lang="en" dirty="0" smtClean="0">
                <a:solidFill>
                  <a:srgbClr val="666666"/>
                </a:solidFill>
              </a:rPr>
              <a:t>                                                 </a:t>
            </a:r>
            <a:r>
              <a:rPr lang="en" dirty="0" smtClean="0">
                <a:solidFill>
                  <a:srgbClr val="666666"/>
                </a:solidFill>
                <a:hlinkClick r:id="rId4"/>
              </a:rPr>
              <a:t>jkaranja@kenet.or.ke</a:t>
            </a:r>
            <a:r>
              <a:rPr lang="en" dirty="0" smtClean="0">
                <a:solidFill>
                  <a:srgbClr val="666666"/>
                </a:solidFill>
              </a:rPr>
              <a:t> </a:t>
            </a:r>
            <a:endParaRPr lang="en" dirty="0">
              <a:solidFill>
                <a:srgbClr val="666666"/>
              </a:solidFill>
            </a:endParaRPr>
          </a:p>
          <a:p>
            <a:endParaRPr lang="en" dirty="0">
              <a:solidFill>
                <a:srgbClr val="666666"/>
              </a:solidFill>
            </a:endParaRPr>
          </a:p>
          <a:p>
            <a:endParaRPr lang="en" dirty="0">
              <a:solidFill>
                <a:srgbClr val="666666"/>
              </a:solidFill>
            </a:endParaRPr>
          </a:p>
        </p:txBody>
      </p:sp>
      <p:cxnSp>
        <p:nvCxnSpPr>
          <p:cNvPr id="526" name="Shape 526"/>
          <p:cNvCxnSpPr/>
          <p:nvPr/>
        </p:nvCxnSpPr>
        <p:spPr>
          <a:xfrm>
            <a:off x="345800" y="2965625"/>
            <a:ext cx="8205900" cy="0"/>
          </a:xfrm>
          <a:prstGeom prst="straightConnector1">
            <a:avLst/>
          </a:prstGeom>
          <a:noFill/>
          <a:ln w="9525" cap="flat">
            <a:solidFill>
              <a:srgbClr val="66666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28" name="Shape 528"/>
          <p:cNvSpPr/>
          <p:nvPr/>
        </p:nvSpPr>
        <p:spPr>
          <a:xfrm>
            <a:off x="7027325" y="6406450"/>
            <a:ext cx="1792200" cy="239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spAutoFit/>
          </a:bodyPr>
          <a:lstStyle/>
          <a:p>
            <a:endParaRPr dirty="0"/>
          </a:p>
        </p:txBody>
      </p:sp>
      <p:pic>
        <p:nvPicPr>
          <p:cNvPr id="8" name="Picture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5600" y="4724400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Shape 625"/>
          <p:cNvSpPr txBox="1">
            <a:spLocks noGrp="1"/>
          </p:cNvSpPr>
          <p:nvPr>
            <p:ph type="title"/>
          </p:nvPr>
        </p:nvSpPr>
        <p:spPr>
          <a:xfrm>
            <a:off x="429646" y="586756"/>
            <a:ext cx="6267600" cy="553968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2400" dirty="0" smtClean="0"/>
              <a:t>Bandwidth Distribution Network</a:t>
            </a:r>
            <a:endParaRPr lang="en" sz="2400" dirty="0">
              <a:solidFill>
                <a:srgbClr val="666666"/>
              </a:solidFill>
            </a:endParaRPr>
          </a:p>
        </p:txBody>
      </p:sp>
      <p:graphicFrame>
        <p:nvGraphicFramePr>
          <p:cNvPr id="8" name="Shape 595"/>
          <p:cNvGraphicFramePr/>
          <p:nvPr>
            <p:extLst>
              <p:ext uri="{D42A27DB-BD31-4B8C-83A1-F6EECF244321}">
                <p14:modId xmlns:p14="http://schemas.microsoft.com/office/powerpoint/2010/main" xmlns="" val="2978633364"/>
              </p:ext>
            </p:extLst>
          </p:nvPr>
        </p:nvGraphicFramePr>
        <p:xfrm>
          <a:off x="758369" y="1447800"/>
          <a:ext cx="7471230" cy="32765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490410"/>
                <a:gridCol w="2490410"/>
                <a:gridCol w="2490410"/>
              </a:tblGrid>
              <a:tr h="4629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 dirty="0"/>
                        <a:t>Infrastructure Typ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b="1"/>
                        <a:t>Number of link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b="1"/>
                        <a:t>Capacity of links (Mbps)</a:t>
                      </a:r>
                    </a:p>
                  </a:txBody>
                  <a:tcPr marL="91425" marR="91425" marT="91425" marB="91425"/>
                </a:tc>
              </a:tr>
              <a:tr h="4629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KENET Owned Fiber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dirty="0" smtClean="0"/>
                        <a:t>10</a:t>
                      </a:r>
                      <a:endParaRPr lang="en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dirty="0" smtClean="0"/>
                        <a:t>25,000</a:t>
                      </a:r>
                      <a:endParaRPr lang="en" dirty="0"/>
                    </a:p>
                  </a:txBody>
                  <a:tcPr marL="91425" marR="91425" marT="91425" marB="91425"/>
                </a:tc>
              </a:tr>
              <a:tr h="71231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dirty="0"/>
                        <a:t>Commercial fiber leased line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dirty="0" smtClean="0"/>
                        <a:t>90</a:t>
                      </a:r>
                      <a:endParaRPr lang="en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/>
                        <a:t>2,281</a:t>
                      </a:r>
                    </a:p>
                  </a:txBody>
                  <a:tcPr marL="91425" marR="91425" marT="91425" marB="91425"/>
                </a:tc>
              </a:tr>
              <a:tr h="4629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KENET Owned Radio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dirty="0" smtClean="0"/>
                        <a:t>12</a:t>
                      </a:r>
                      <a:endParaRPr lang="en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/>
                        <a:t>382</a:t>
                      </a:r>
                    </a:p>
                  </a:txBody>
                  <a:tcPr marL="91425" marR="91425" marT="91425" marB="91425"/>
                </a:tc>
              </a:tr>
              <a:tr h="71231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/>
                        <a:t>Commercial radio leased line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dirty="0" smtClean="0"/>
                        <a:t>29</a:t>
                      </a:r>
                      <a:endParaRPr lang="en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/>
                        <a:t>286</a:t>
                      </a:r>
                    </a:p>
                  </a:txBody>
                  <a:tcPr marL="91425" marR="91425" marT="91425" marB="91425"/>
                </a:tc>
              </a:tr>
              <a:tr h="4629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" b="1" dirty="0"/>
                        <a:t>Total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b="1" smtClean="0"/>
                        <a:t>141</a:t>
                      </a:r>
                      <a:endParaRPr lang="en" b="1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" b="1" dirty="0"/>
                        <a:t>27,949</a:t>
                      </a:r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6644" y="5857892"/>
            <a:ext cx="1675025" cy="7286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308168936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4"/>
          <p:cNvGraphicFramePr>
            <a:graphicFrameLocks/>
          </p:cNvGraphicFramePr>
          <p:nvPr/>
        </p:nvGraphicFramePr>
        <p:xfrm>
          <a:off x="214282" y="1214422"/>
          <a:ext cx="8709119" cy="5184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25" name="Shape 625"/>
          <p:cNvSpPr txBox="1">
            <a:spLocks noGrp="1"/>
          </p:cNvSpPr>
          <p:nvPr>
            <p:ph type="title"/>
          </p:nvPr>
        </p:nvSpPr>
        <p:spPr>
          <a:xfrm>
            <a:off x="429646" y="217425"/>
            <a:ext cx="8428634" cy="923299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US" sz="2400" dirty="0"/>
              <a:t>Price per Mb/s at Member Institution the Key Competitive Advantage</a:t>
            </a:r>
            <a:endParaRPr lang="en" sz="24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020582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Shape 625"/>
          <p:cNvSpPr txBox="1">
            <a:spLocks noGrp="1"/>
          </p:cNvSpPr>
          <p:nvPr>
            <p:ph type="title"/>
          </p:nvPr>
        </p:nvSpPr>
        <p:spPr>
          <a:xfrm>
            <a:off x="429646" y="463646"/>
            <a:ext cx="6267600" cy="677078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Services To Members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 fontScale="70000" lnSpcReduction="20000"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Advocacy</a:t>
            </a:r>
          </a:p>
          <a:p>
            <a:pPr lvl="1"/>
            <a:r>
              <a:rPr lang="en-US" dirty="0" smtClean="0"/>
              <a:t>Vice Chancellors’ and ICT Directors forum</a:t>
            </a:r>
          </a:p>
          <a:p>
            <a:pPr lvl="1"/>
            <a:r>
              <a:rPr lang="en-US" dirty="0" smtClean="0"/>
              <a:t>Influence budgets, ICT Directors’ position</a:t>
            </a:r>
          </a:p>
          <a:p>
            <a:r>
              <a:rPr lang="en-US" dirty="0" smtClean="0"/>
              <a:t>International bandwidth</a:t>
            </a:r>
          </a:p>
          <a:p>
            <a:pPr lvl="1"/>
            <a:r>
              <a:rPr lang="en-US" dirty="0" smtClean="0"/>
              <a:t>1.95 Gb/s Capacity on TEAMS and SEACOM cables</a:t>
            </a:r>
          </a:p>
          <a:p>
            <a:r>
              <a:rPr lang="en-US" dirty="0" smtClean="0"/>
              <a:t>Local connectivity</a:t>
            </a:r>
          </a:p>
          <a:p>
            <a:pPr lvl="1"/>
            <a:r>
              <a:rPr lang="en-US" dirty="0" smtClean="0"/>
              <a:t>High capacity, low congestion links</a:t>
            </a:r>
          </a:p>
          <a:p>
            <a:pPr lvl="1"/>
            <a:r>
              <a:rPr lang="en-US" dirty="0" smtClean="0"/>
              <a:t>70 % of links on fiber</a:t>
            </a:r>
          </a:p>
          <a:p>
            <a:r>
              <a:rPr lang="en-US" dirty="0" smtClean="0"/>
              <a:t>Highly skilled technical staff</a:t>
            </a:r>
          </a:p>
          <a:p>
            <a:pPr lvl="1"/>
            <a:r>
              <a:rPr lang="en-US" dirty="0" smtClean="0"/>
              <a:t>Training services, technical support to members</a:t>
            </a:r>
          </a:p>
          <a:p>
            <a:r>
              <a:rPr lang="en-US" dirty="0" smtClean="0"/>
              <a:t>Shared Services</a:t>
            </a:r>
          </a:p>
          <a:p>
            <a:pPr lvl="1"/>
            <a:r>
              <a:rPr lang="en-US" dirty="0" smtClean="0"/>
              <a:t>Video Conferencing, IP Management</a:t>
            </a:r>
          </a:p>
          <a:p>
            <a:pPr lvl="1"/>
            <a:r>
              <a:rPr lang="en-US" dirty="0" smtClean="0"/>
              <a:t>Domain and web hosting</a:t>
            </a:r>
          </a:p>
          <a:p>
            <a:pPr lvl="1"/>
            <a:r>
              <a:rPr lang="en-US" dirty="0" smtClean="0"/>
              <a:t>Co-location</a:t>
            </a:r>
          </a:p>
          <a:p>
            <a:pPr lvl="1"/>
            <a:r>
              <a:rPr lang="en-US" dirty="0" smtClean="0"/>
              <a:t>Storage &amp; virtual servers</a:t>
            </a:r>
          </a:p>
          <a:p>
            <a:pPr lvl="1"/>
            <a:endParaRPr lang="en-US" dirty="0"/>
          </a:p>
        </p:txBody>
      </p:sp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6644" y="5857892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Shape 625"/>
          <p:cNvSpPr txBox="1">
            <a:spLocks noGrp="1"/>
          </p:cNvSpPr>
          <p:nvPr>
            <p:ph type="title"/>
          </p:nvPr>
        </p:nvSpPr>
        <p:spPr>
          <a:xfrm>
            <a:off x="428596" y="500042"/>
            <a:ext cx="8285758" cy="677078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Services To Members Contd..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 smtClean="0"/>
              <a:t>Eduroam</a:t>
            </a:r>
            <a:endParaRPr lang="en-US" dirty="0" smtClean="0"/>
          </a:p>
          <a:p>
            <a:pPr lvl="1"/>
            <a:r>
              <a:rPr lang="en-US" dirty="0" smtClean="0"/>
              <a:t>5 Universities already running </a:t>
            </a:r>
            <a:r>
              <a:rPr lang="en-US" dirty="0" err="1" smtClean="0"/>
              <a:t>Eduroam</a:t>
            </a:r>
            <a:endParaRPr lang="en-US" dirty="0" smtClean="0"/>
          </a:p>
          <a:p>
            <a:pPr lvl="1"/>
            <a:r>
              <a:rPr lang="en-US" dirty="0" smtClean="0"/>
              <a:t>5 more universities by May 30</a:t>
            </a:r>
            <a:r>
              <a:rPr lang="en-US" baseline="30000" dirty="0" smtClean="0"/>
              <a:t>th</a:t>
            </a:r>
            <a:r>
              <a:rPr lang="en-US" dirty="0" smtClean="0"/>
              <a:t> 2013</a:t>
            </a:r>
          </a:p>
          <a:p>
            <a:pPr lvl="1"/>
            <a:r>
              <a:rPr lang="en-US" dirty="0" smtClean="0"/>
              <a:t>Total of 25 by December 2013</a:t>
            </a:r>
          </a:p>
          <a:p>
            <a:r>
              <a:rPr lang="en-US" dirty="0" smtClean="0"/>
              <a:t>Certificates &amp; Federated Services</a:t>
            </a:r>
          </a:p>
          <a:p>
            <a:pPr lvl="1"/>
            <a:r>
              <a:rPr lang="en-US" dirty="0" smtClean="0"/>
              <a:t>CA &amp; </a:t>
            </a:r>
            <a:r>
              <a:rPr lang="en-US" dirty="0" err="1" smtClean="0"/>
              <a:t>idF</a:t>
            </a:r>
            <a:r>
              <a:rPr lang="en-US" dirty="0" smtClean="0"/>
              <a:t> projects ongoing with eI4Africa (ei4africa.eu)</a:t>
            </a:r>
          </a:p>
          <a:p>
            <a:r>
              <a:rPr lang="en-US" dirty="0" smtClean="0"/>
              <a:t>Measurement Lab</a:t>
            </a:r>
          </a:p>
          <a:p>
            <a:pPr lvl="1"/>
            <a:r>
              <a:rPr lang="en-US" dirty="0" smtClean="0"/>
              <a:t>Internet Measurements</a:t>
            </a:r>
          </a:p>
          <a:p>
            <a:pPr lvl="1"/>
            <a:r>
              <a:rPr lang="en-US" dirty="0" smtClean="0"/>
              <a:t>Internet Research</a:t>
            </a:r>
            <a:endParaRPr lang="en-US" dirty="0"/>
          </a:p>
        </p:txBody>
      </p:sp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6644" y="5857892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196" y="12022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Community Growth Vice Chancellors’ Forum </a:t>
            </a:r>
            <a:r>
              <a:rPr lang="en-US" sz="3600" dirty="0" smtClean="0"/>
              <a:t>(</a:t>
            </a:r>
            <a:r>
              <a:rPr lang="en-US" dirty="0" smtClean="0"/>
              <a:t>Annual)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82945" tIns="41473" rIns="82945" bIns="41473"/>
          <a:lstStyle/>
          <a:p>
            <a:r>
              <a:rPr lang="en-US" smtClean="0"/>
              <a:t>BoT Meeting and Approvals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C5623-48C8-43F8-8BC1-2547DB250ABC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146" name="Picture 2" descr="D:\KENET\Photo mombasa 2011\Photos to send to prof\DSC_0268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980731"/>
            <a:ext cx="8568952" cy="573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8319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7686700" cy="901199"/>
          </a:xfrm>
        </p:spPr>
        <p:txBody>
          <a:bodyPr>
            <a:normAutofit/>
          </a:bodyPr>
          <a:lstStyle/>
          <a:p>
            <a:r>
              <a:rPr lang="en-US" sz="2800" dirty="0"/>
              <a:t>System A</a:t>
            </a:r>
            <a:r>
              <a:rPr lang="en-US" sz="2800" dirty="0" smtClean="0"/>
              <a:t>dministrator’s Training 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82945" tIns="41473" rIns="82945" bIns="41473"/>
          <a:lstStyle/>
          <a:p>
            <a:r>
              <a:rPr lang="en-US" smtClean="0"/>
              <a:t>BoT Meeting and Approvals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C5623-48C8-43F8-8BC1-2547DB250ABC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3079" name="Picture 7" descr="http://kenet.or.ke/images/training1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1600" y="1340768"/>
            <a:ext cx="6984776" cy="5238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23390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7829576" cy="901199"/>
          </a:xfrm>
        </p:spPr>
        <p:txBody>
          <a:bodyPr/>
          <a:lstStyle/>
          <a:p>
            <a:r>
              <a:rPr lang="en-US" dirty="0" smtClean="0"/>
              <a:t>Partnerships – Helping Hand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lvl="1"/>
            <a:r>
              <a:rPr lang="en-US" dirty="0" smtClean="0"/>
              <a:t>Kenya ICT Board and CCK, </a:t>
            </a:r>
            <a:r>
              <a:rPr lang="en-US" dirty="0" err="1" smtClean="0"/>
              <a:t>MoHEST</a:t>
            </a:r>
            <a:r>
              <a:rPr lang="en-US" dirty="0" smtClean="0"/>
              <a:t> and </a:t>
            </a:r>
            <a:r>
              <a:rPr lang="en-US" dirty="0" err="1" smtClean="0"/>
              <a:t>MoIC</a:t>
            </a:r>
            <a:endParaRPr lang="en-US" dirty="0"/>
          </a:p>
          <a:p>
            <a:pPr lvl="1"/>
            <a:r>
              <a:rPr lang="en-US" dirty="0"/>
              <a:t>LOCAL OPERATORS – KDN, </a:t>
            </a:r>
            <a:r>
              <a:rPr lang="en-US" dirty="0" err="1"/>
              <a:t>Jamii</a:t>
            </a:r>
            <a:r>
              <a:rPr lang="en-US" dirty="0"/>
              <a:t>, </a:t>
            </a:r>
            <a:r>
              <a:rPr lang="en-US" dirty="0" err="1"/>
              <a:t>Safaricom</a:t>
            </a:r>
            <a:r>
              <a:rPr lang="en-US" dirty="0"/>
              <a:t>, Telkom, SEACOM</a:t>
            </a:r>
          </a:p>
          <a:p>
            <a:pPr lvl="1"/>
            <a:r>
              <a:rPr lang="en-US" dirty="0" smtClean="0"/>
              <a:t>ISOC, </a:t>
            </a:r>
            <a:r>
              <a:rPr lang="en-US" dirty="0" err="1" smtClean="0"/>
              <a:t>AfNOG</a:t>
            </a:r>
            <a:r>
              <a:rPr lang="en-US" dirty="0" smtClean="0"/>
              <a:t> – Capacity Building</a:t>
            </a:r>
          </a:p>
          <a:p>
            <a:pPr lvl="1"/>
            <a:r>
              <a:rPr lang="en-US" dirty="0" smtClean="0"/>
              <a:t>IBM (Pro bono Consultancy work) and research lab!</a:t>
            </a:r>
          </a:p>
          <a:p>
            <a:pPr lvl="1"/>
            <a:r>
              <a:rPr lang="en-US" dirty="0" smtClean="0"/>
              <a:t>DFN </a:t>
            </a:r>
            <a:r>
              <a:rPr lang="en-US" dirty="0"/>
              <a:t>(</a:t>
            </a:r>
            <a:r>
              <a:rPr lang="en-US" dirty="0" smtClean="0"/>
              <a:t> German NREN) for Capacity Building and NREN business models</a:t>
            </a:r>
          </a:p>
          <a:p>
            <a:pPr lvl="1"/>
            <a:r>
              <a:rPr lang="en-US" dirty="0" smtClean="0"/>
              <a:t>Network Startup Resource Center / University of Oregon  : Capacity Building</a:t>
            </a:r>
          </a:p>
          <a:p>
            <a:pPr lvl="1"/>
            <a:r>
              <a:rPr lang="en-US" dirty="0" smtClean="0"/>
              <a:t>Google : Infrastructure grants, Cache, donated switches, Open access Internet measurement labs</a:t>
            </a:r>
          </a:p>
          <a:p>
            <a:pPr lvl="1"/>
            <a:r>
              <a:rPr lang="en-US" dirty="0" smtClean="0"/>
              <a:t>TENET : International NOC services and NREN business models</a:t>
            </a:r>
          </a:p>
          <a:p>
            <a:pPr lvl="1"/>
            <a:r>
              <a:rPr lang="en-US" dirty="0" smtClean="0"/>
              <a:t>EU and AU – </a:t>
            </a:r>
            <a:r>
              <a:rPr lang="en-US" dirty="0" err="1" smtClean="0"/>
              <a:t>AfricaConnect</a:t>
            </a:r>
            <a:r>
              <a:rPr lang="en-US" dirty="0" smtClean="0"/>
              <a:t> Project </a:t>
            </a:r>
          </a:p>
        </p:txBody>
      </p:sp>
    </p:spTree>
    <p:extLst>
      <p:ext uri="{BB962C8B-B14F-4D97-AF65-F5344CB8AC3E}">
        <p14:creationId xmlns:p14="http://schemas.microsoft.com/office/powerpoint/2010/main" xmlns="" val="1209042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Shape 634"/>
          <p:cNvSpPr txBox="1">
            <a:spLocks noGrp="1"/>
          </p:cNvSpPr>
          <p:nvPr>
            <p:ph type="title"/>
          </p:nvPr>
        </p:nvSpPr>
        <p:spPr>
          <a:xfrm>
            <a:off x="895296" y="498758"/>
            <a:ext cx="6267600" cy="677078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Key Achievements So Far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295400"/>
            <a:ext cx="8229600" cy="48307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 fontScale="62500" lnSpcReduction="20000"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More than 120 campuses connected in 4 years</a:t>
            </a:r>
          </a:p>
          <a:p>
            <a:r>
              <a:rPr lang="en-US" dirty="0" smtClean="0"/>
              <a:t>Distributing more than 1.95 </a:t>
            </a:r>
            <a:r>
              <a:rPr lang="en-US" dirty="0" err="1" smtClean="0"/>
              <a:t>Gbps</a:t>
            </a:r>
            <a:r>
              <a:rPr lang="en-US" dirty="0" smtClean="0"/>
              <a:t> of international bandwidth</a:t>
            </a:r>
          </a:p>
          <a:p>
            <a:r>
              <a:rPr lang="en-US" dirty="0" smtClean="0"/>
              <a:t>Distributing 600Mbps from local content cache</a:t>
            </a:r>
          </a:p>
          <a:p>
            <a:r>
              <a:rPr lang="en-US" dirty="0" smtClean="0"/>
              <a:t>10 </a:t>
            </a:r>
            <a:r>
              <a:rPr lang="en-US" dirty="0" err="1" smtClean="0"/>
              <a:t>Gbps</a:t>
            </a:r>
            <a:r>
              <a:rPr lang="en-US" dirty="0" smtClean="0"/>
              <a:t> fiber dark fiber ring connected key sites in Nairobi</a:t>
            </a:r>
          </a:p>
          <a:p>
            <a:pPr lvl="1"/>
            <a:r>
              <a:rPr lang="en-US" dirty="0" smtClean="0"/>
              <a:t>Commissioned in 2012.</a:t>
            </a:r>
          </a:p>
          <a:p>
            <a:r>
              <a:rPr lang="en-US" dirty="0" smtClean="0"/>
              <a:t>Development of 2 data centers</a:t>
            </a:r>
          </a:p>
          <a:p>
            <a:pPr lvl="1"/>
            <a:r>
              <a:rPr lang="en-US" dirty="0" smtClean="0"/>
              <a:t>Shared services, colocation</a:t>
            </a:r>
          </a:p>
          <a:p>
            <a:r>
              <a:rPr lang="en-US" dirty="0" smtClean="0"/>
              <a:t>Partnership with local operators and leased line providers</a:t>
            </a:r>
          </a:p>
          <a:p>
            <a:pPr lvl="1"/>
            <a:r>
              <a:rPr lang="en-US" dirty="0" smtClean="0"/>
              <a:t>KDN, FON, JTL, </a:t>
            </a:r>
            <a:r>
              <a:rPr lang="en-US" dirty="0" err="1" smtClean="0"/>
              <a:t>Safaricom,Telkom</a:t>
            </a:r>
            <a:r>
              <a:rPr lang="en-US" dirty="0" smtClean="0"/>
              <a:t> Kenya and Access Kenya</a:t>
            </a:r>
          </a:p>
          <a:p>
            <a:r>
              <a:rPr lang="en-US" dirty="0" smtClean="0"/>
              <a:t>Collaboration with other NRENs,</a:t>
            </a:r>
          </a:p>
          <a:p>
            <a:pPr lvl="1"/>
            <a:r>
              <a:rPr lang="en-US" dirty="0" err="1" smtClean="0"/>
              <a:t>Ubuntunet</a:t>
            </a:r>
            <a:r>
              <a:rPr lang="en-US" dirty="0" smtClean="0"/>
              <a:t> Alliance, Internet 2, DFN, International Universities and Research Bodies</a:t>
            </a:r>
          </a:p>
          <a:p>
            <a:r>
              <a:rPr lang="en-US" dirty="0" smtClean="0"/>
              <a:t>International Collaboration and Partnership </a:t>
            </a:r>
          </a:p>
          <a:p>
            <a:pPr lvl="1"/>
            <a:r>
              <a:rPr lang="en-US" dirty="0" smtClean="0"/>
              <a:t>Google implementation partner, IBM research lab,  NSRC for capacity building</a:t>
            </a:r>
          </a:p>
          <a:p>
            <a:r>
              <a:rPr lang="en-US" dirty="0" smtClean="0"/>
              <a:t>High Speed network</a:t>
            </a:r>
          </a:p>
          <a:p>
            <a:pPr lvl="1"/>
            <a:r>
              <a:rPr lang="en-US" dirty="0" smtClean="0">
                <a:hlinkClick r:id="rId3"/>
              </a:rPr>
              <a:t>http://www.itnewsafrica.com/2012/04/africas-top-ten-countries-with-fastest-internet-speeds/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Generates &gt; 600 Mbps of Google/You tube traffic</a:t>
            </a:r>
          </a:p>
        </p:txBody>
      </p:sp>
    </p:spTree>
    <p:extLst>
      <p:ext uri="{BB962C8B-B14F-4D97-AF65-F5344CB8AC3E}">
        <p14:creationId xmlns:p14="http://schemas.microsoft.com/office/powerpoint/2010/main" xmlns="" val="216774435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Shape 634"/>
          <p:cNvSpPr txBox="1">
            <a:spLocks noGrp="1"/>
          </p:cNvSpPr>
          <p:nvPr>
            <p:ph type="title"/>
          </p:nvPr>
        </p:nvSpPr>
        <p:spPr>
          <a:xfrm>
            <a:off x="895296" y="498758"/>
            <a:ext cx="6267600" cy="677078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FUTURE PLANS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214422"/>
            <a:ext cx="8229600" cy="53578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Core Network Expansion</a:t>
            </a:r>
          </a:p>
          <a:p>
            <a:pPr lvl="1"/>
            <a:r>
              <a:rPr lang="en-US" dirty="0" smtClean="0"/>
              <a:t>Additional 800Km dark fiber lit at 10Gbps</a:t>
            </a:r>
            <a:endParaRPr lang="en-US" dirty="0"/>
          </a:p>
          <a:p>
            <a:r>
              <a:rPr lang="en-US" dirty="0" smtClean="0"/>
              <a:t>Access Network Expansion - Ongoing</a:t>
            </a:r>
          </a:p>
          <a:p>
            <a:pPr lvl="1"/>
            <a:r>
              <a:rPr lang="en-US" dirty="0" smtClean="0"/>
              <a:t>27 Campuses to be integrated to 1Gbps KENET owned last mile fiber</a:t>
            </a:r>
          </a:p>
          <a:p>
            <a:pPr lvl="1"/>
            <a:r>
              <a:rPr lang="en-US" dirty="0" smtClean="0"/>
              <a:t>Additional 200Km of KENET fiber</a:t>
            </a:r>
          </a:p>
          <a:p>
            <a:r>
              <a:rPr lang="en-US" dirty="0" smtClean="0"/>
              <a:t>Campus Wireless - Ongoing</a:t>
            </a:r>
          </a:p>
          <a:p>
            <a:pPr lvl="1"/>
            <a:r>
              <a:rPr lang="en-US" dirty="0" smtClean="0"/>
              <a:t>Addition of wireless networks in 10 more campuses</a:t>
            </a:r>
          </a:p>
          <a:p>
            <a:pPr lvl="1"/>
            <a:r>
              <a:rPr lang="en-US" dirty="0" err="1" smtClean="0"/>
              <a:t>Eduroam</a:t>
            </a:r>
            <a:r>
              <a:rPr lang="en-US" dirty="0" smtClean="0"/>
              <a:t> Service</a:t>
            </a:r>
          </a:p>
          <a:p>
            <a:r>
              <a:rPr lang="en-US" dirty="0" smtClean="0"/>
              <a:t>Certificates &amp; Federated Services – Ongoing</a:t>
            </a:r>
          </a:p>
          <a:p>
            <a:r>
              <a:rPr lang="en-US" dirty="0" smtClean="0"/>
              <a:t>Training Lab</a:t>
            </a:r>
          </a:p>
          <a:p>
            <a:pPr lvl="1"/>
            <a:r>
              <a:rPr lang="en-US" dirty="0" smtClean="0"/>
              <a:t>Physical Lab – Networks &amp; Systems Administration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1241543636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stomShap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3"/>
          </a:blipFill>
        </p:spPr>
      </p:sp>
      <p:sp>
        <p:nvSpPr>
          <p:cNvPr id="633" name="Shape 633"/>
          <p:cNvSpPr/>
          <p:nvPr/>
        </p:nvSpPr>
        <p:spPr>
          <a:xfrm>
            <a:off x="59904" y="79775"/>
            <a:ext cx="978802" cy="1076444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</p:sp>
      <p:sp>
        <p:nvSpPr>
          <p:cNvPr id="634" name="Shape 634"/>
          <p:cNvSpPr txBox="1">
            <a:spLocks noGrp="1"/>
          </p:cNvSpPr>
          <p:nvPr>
            <p:ph type="title"/>
          </p:nvPr>
        </p:nvSpPr>
        <p:spPr>
          <a:xfrm>
            <a:off x="1142976" y="214290"/>
            <a:ext cx="8001024" cy="677078"/>
          </a:xfrm>
          <a:prstGeom prst="rect">
            <a:avLst/>
          </a:prstGeom>
          <a:solidFill>
            <a:schemeClr val="lt1"/>
          </a:solidFill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Traffic Patterns – </a:t>
            </a:r>
            <a:r>
              <a:rPr lang="en-US" sz="3200" dirty="0" err="1" smtClean="0"/>
              <a:t>AfricaConnect</a:t>
            </a:r>
            <a:endParaRPr lang="en" sz="30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1543636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043890" cy="901199"/>
          </a:xfrm>
        </p:spPr>
        <p:txBody>
          <a:bodyPr/>
          <a:lstStyle/>
          <a:p>
            <a:r>
              <a:rPr lang="en-US" dirty="0" smtClean="0"/>
              <a:t>Is a Leading Tourist Destination? </a:t>
            </a:r>
            <a:endParaRPr lang="en-US" dirty="0"/>
          </a:p>
        </p:txBody>
      </p:sp>
      <p:pic>
        <p:nvPicPr>
          <p:cNvPr id="20482" name="Picture 2" descr="http://www.bbc.co.uk/radio4/worldonthemove/image/2/622/451/2/images/masai-mara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196752"/>
            <a:ext cx="6984776" cy="5064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838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Shape 641"/>
          <p:cNvSpPr txBox="1">
            <a:spLocks noGrp="1"/>
          </p:cNvSpPr>
          <p:nvPr>
            <p:ph type="body" idx="1"/>
          </p:nvPr>
        </p:nvSpPr>
        <p:spPr>
          <a:xfrm>
            <a:off x="11250" y="2873250"/>
            <a:ext cx="9132599" cy="1598100"/>
          </a:xfrm>
          <a:prstGeom prst="rect">
            <a:avLst/>
          </a:prstGeom>
        </p:spPr>
        <p:txBody>
          <a:bodyPr lIns="91425" tIns="91425" rIns="91425" bIns="91425" anchor="t" anchorCtr="0">
            <a:spAutoFit/>
          </a:bodyPr>
          <a:lstStyle/>
          <a:p>
            <a:pPr algn="ctr">
              <a:buNone/>
            </a:pPr>
            <a:r>
              <a:rPr lang="en" sz="7200" b="1">
                <a:solidFill>
                  <a:srgbClr val="4A86E8"/>
                </a:solidFill>
              </a:rPr>
              <a:t>Q&amp;A</a:t>
            </a:r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43768" y="5429264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Shape 534"/>
          <p:cNvSpPr txBox="1">
            <a:spLocks noGrp="1"/>
          </p:cNvSpPr>
          <p:nvPr>
            <p:ph type="sldNum" idx="12"/>
          </p:nvPr>
        </p:nvSpPr>
        <p:spPr>
          <a:xfrm>
            <a:off x="8686800" y="6634425"/>
            <a:ext cx="457200" cy="2093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lvl="0">
              <a:buClr>
                <a:srgbClr val="000000"/>
              </a:buClr>
              <a:buSzPct val="25000"/>
              <a:buFont typeface="Arial"/>
              <a:buNone/>
            </a:pPr>
            <a:r>
              <a:rPr lang="en"/>
              <a:t> </a:t>
            </a:r>
          </a:p>
        </p:txBody>
      </p:sp>
      <p:sp>
        <p:nvSpPr>
          <p:cNvPr id="535" name="Shape 535"/>
          <p:cNvSpPr/>
          <p:nvPr/>
        </p:nvSpPr>
        <p:spPr>
          <a:xfrm>
            <a:off x="792291" y="2010786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/>
              <a:t>The journey in the last 13 </a:t>
            </a:r>
            <a:r>
              <a:rPr lang="en-US" dirty="0" smtClean="0"/>
              <a:t>years</a:t>
            </a:r>
            <a:endParaRPr lang="en-US" dirty="0"/>
          </a:p>
        </p:txBody>
      </p:sp>
      <p:sp>
        <p:nvSpPr>
          <p:cNvPr id="536" name="Shape 536"/>
          <p:cNvSpPr/>
          <p:nvPr/>
        </p:nvSpPr>
        <p:spPr>
          <a:xfrm>
            <a:off x="838200" y="1786466"/>
            <a:ext cx="7848599" cy="558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endParaRPr dirty="0"/>
          </a:p>
        </p:txBody>
      </p:sp>
      <p:sp>
        <p:nvSpPr>
          <p:cNvPr id="537" name="Shape 537"/>
          <p:cNvSpPr/>
          <p:nvPr/>
        </p:nvSpPr>
        <p:spPr>
          <a:xfrm>
            <a:off x="848045" y="3548605"/>
            <a:ext cx="7848599" cy="558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endParaRPr dirty="0"/>
          </a:p>
        </p:txBody>
      </p:sp>
      <p:sp>
        <p:nvSpPr>
          <p:cNvPr id="538" name="Shape 538"/>
          <p:cNvSpPr/>
          <p:nvPr/>
        </p:nvSpPr>
        <p:spPr>
          <a:xfrm>
            <a:off x="838200" y="2387599"/>
            <a:ext cx="7848599" cy="558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endParaRPr dirty="0"/>
          </a:p>
        </p:txBody>
      </p:sp>
      <p:sp>
        <p:nvSpPr>
          <p:cNvPr id="539" name="Shape 539"/>
          <p:cNvSpPr/>
          <p:nvPr/>
        </p:nvSpPr>
        <p:spPr>
          <a:xfrm>
            <a:off x="848045" y="4149738"/>
            <a:ext cx="7848599" cy="558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endParaRPr dirty="0"/>
          </a:p>
        </p:txBody>
      </p:sp>
      <p:grpSp>
        <p:nvGrpSpPr>
          <p:cNvPr id="540" name="Shape 540"/>
          <p:cNvGrpSpPr/>
          <p:nvPr/>
        </p:nvGrpSpPr>
        <p:grpSpPr>
          <a:xfrm>
            <a:off x="507999" y="1286932"/>
            <a:ext cx="8103394" cy="617704"/>
            <a:chOff x="507999" y="1286932"/>
            <a:chExt cx="8103394" cy="617704"/>
          </a:xfrm>
        </p:grpSpPr>
        <p:cxnSp>
          <p:nvCxnSpPr>
            <p:cNvPr id="541" name="Shape 541"/>
            <p:cNvCxnSpPr/>
            <p:nvPr/>
          </p:nvCxnSpPr>
          <p:spPr>
            <a:xfrm>
              <a:off x="608893" y="1769533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grpSp>
          <p:nvGrpSpPr>
            <p:cNvPr id="542" name="Shape 542"/>
            <p:cNvGrpSpPr/>
            <p:nvPr/>
          </p:nvGrpSpPr>
          <p:grpSpPr>
            <a:xfrm>
              <a:off x="507999" y="1286932"/>
              <a:ext cx="230229" cy="617704"/>
              <a:chOff x="-721" y="1729"/>
              <a:chExt cx="218" cy="585"/>
            </a:xfrm>
          </p:grpSpPr>
          <p:sp>
            <p:nvSpPr>
              <p:cNvPr id="543" name="Shape 543"/>
              <p:cNvSpPr/>
              <p:nvPr/>
            </p:nvSpPr>
            <p:spPr>
              <a:xfrm>
                <a:off x="-721" y="1729"/>
                <a:ext cx="218" cy="287"/>
              </a:xfrm>
              <a:custGeom>
                <a:avLst/>
                <a:gdLst/>
                <a:ahLst/>
                <a:cxnLst/>
                <a:rect l="0" t="0" r="0" b="0"/>
                <a:pathLst>
                  <a:path w="92" h="122" extrusionOk="0">
                    <a:moveTo>
                      <a:pt x="48" y="115"/>
                    </a:moveTo>
                    <a:cubicBezTo>
                      <a:pt x="48" y="110"/>
                      <a:pt x="50" y="105"/>
                      <a:pt x="53" y="101"/>
                    </a:cubicBezTo>
                    <a:cubicBezTo>
                      <a:pt x="56" y="96"/>
                      <a:pt x="61" y="93"/>
                      <a:pt x="66" y="92"/>
                    </a:cubicBezTo>
                    <a:cubicBezTo>
                      <a:pt x="92" y="84"/>
                      <a:pt x="92" y="84"/>
                      <a:pt x="92" y="84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86" y="87"/>
                      <a:pt x="81" y="90"/>
                      <a:pt x="79" y="95"/>
                    </a:cubicBezTo>
                    <a:cubicBezTo>
                      <a:pt x="76" y="100"/>
                      <a:pt x="74" y="104"/>
                      <a:pt x="72" y="109"/>
                    </a:cubicBezTo>
                    <a:cubicBezTo>
                      <a:pt x="70" y="113"/>
                      <a:pt x="66" y="117"/>
                      <a:pt x="61" y="119"/>
                    </a:cubicBezTo>
                    <a:cubicBezTo>
                      <a:pt x="57" y="121"/>
                      <a:pt x="53" y="122"/>
                      <a:pt x="50" y="121"/>
                    </a:cubicBezTo>
                    <a:cubicBezTo>
                      <a:pt x="49" y="119"/>
                      <a:pt x="48" y="117"/>
                      <a:pt x="48" y="115"/>
                    </a:cubicBezTo>
                    <a:moveTo>
                      <a:pt x="48" y="94"/>
                    </a:moveTo>
                    <a:cubicBezTo>
                      <a:pt x="48" y="88"/>
                      <a:pt x="50" y="82"/>
                      <a:pt x="53" y="76"/>
                    </a:cubicBezTo>
                    <a:cubicBezTo>
                      <a:pt x="56" y="70"/>
                      <a:pt x="61" y="66"/>
                      <a:pt x="66" y="65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4" y="60"/>
                      <a:pt x="80" y="63"/>
                      <a:pt x="78" y="68"/>
                    </a:cubicBezTo>
                    <a:cubicBezTo>
                      <a:pt x="77" y="72"/>
                      <a:pt x="75" y="76"/>
                      <a:pt x="74" y="81"/>
                    </a:cubicBezTo>
                    <a:cubicBezTo>
                      <a:pt x="72" y="84"/>
                      <a:pt x="68" y="87"/>
                      <a:pt x="61" y="90"/>
                    </a:cubicBezTo>
                    <a:cubicBezTo>
                      <a:pt x="55" y="93"/>
                      <a:pt x="50" y="96"/>
                      <a:pt x="48" y="100"/>
                    </a:cubicBezTo>
                    <a:cubicBezTo>
                      <a:pt x="48" y="98"/>
                      <a:pt x="48" y="96"/>
                      <a:pt x="48" y="94"/>
                    </a:cubicBezTo>
                    <a:moveTo>
                      <a:pt x="39" y="27"/>
                    </a:moveTo>
                    <a:cubicBezTo>
                      <a:pt x="39" y="19"/>
                      <a:pt x="43" y="10"/>
                      <a:pt x="52" y="0"/>
                    </a:cubicBezTo>
                    <a:cubicBezTo>
                      <a:pt x="54" y="6"/>
                      <a:pt x="55" y="11"/>
                      <a:pt x="55" y="17"/>
                    </a:cubicBezTo>
                    <a:cubicBezTo>
                      <a:pt x="55" y="25"/>
                      <a:pt x="52" y="36"/>
                      <a:pt x="46" y="49"/>
                    </a:cubicBezTo>
                    <a:cubicBezTo>
                      <a:pt x="41" y="40"/>
                      <a:pt x="39" y="33"/>
                      <a:pt x="39" y="27"/>
                    </a:cubicBezTo>
                    <a:moveTo>
                      <a:pt x="10" y="28"/>
                    </a:move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41"/>
                      <a:pt x="38" y="45"/>
                      <a:pt x="41" y="50"/>
                    </a:cubicBezTo>
                    <a:cubicBezTo>
                      <a:pt x="43" y="55"/>
                      <a:pt x="45" y="61"/>
                      <a:pt x="46" y="67"/>
                    </a:cubicBezTo>
                    <a:cubicBezTo>
                      <a:pt x="47" y="61"/>
                      <a:pt x="49" y="55"/>
                      <a:pt x="51" y="50"/>
                    </a:cubicBezTo>
                    <a:cubicBezTo>
                      <a:pt x="54" y="45"/>
                      <a:pt x="57" y="41"/>
                      <a:pt x="60" y="3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79" y="31"/>
                      <a:pt x="76" y="33"/>
                      <a:pt x="75" y="36"/>
                    </a:cubicBezTo>
                    <a:cubicBezTo>
                      <a:pt x="74" y="37"/>
                      <a:pt x="74" y="40"/>
                      <a:pt x="74" y="44"/>
                    </a:cubicBezTo>
                    <a:cubicBezTo>
                      <a:pt x="73" y="47"/>
                      <a:pt x="72" y="50"/>
                      <a:pt x="71" y="53"/>
                    </a:cubicBezTo>
                    <a:cubicBezTo>
                      <a:pt x="70" y="55"/>
                      <a:pt x="66" y="59"/>
                      <a:pt x="58" y="64"/>
                    </a:cubicBezTo>
                    <a:cubicBezTo>
                      <a:pt x="51" y="70"/>
                      <a:pt x="47" y="74"/>
                      <a:pt x="46" y="77"/>
                    </a:cubicBezTo>
                    <a:cubicBezTo>
                      <a:pt x="45" y="74"/>
                      <a:pt x="41" y="70"/>
                      <a:pt x="34" y="64"/>
                    </a:cubicBezTo>
                    <a:cubicBezTo>
                      <a:pt x="26" y="59"/>
                      <a:pt x="22" y="55"/>
                      <a:pt x="21" y="53"/>
                    </a:cubicBezTo>
                    <a:cubicBezTo>
                      <a:pt x="20" y="50"/>
                      <a:pt x="19" y="47"/>
                      <a:pt x="18" y="44"/>
                    </a:cubicBezTo>
                    <a:cubicBezTo>
                      <a:pt x="18" y="40"/>
                      <a:pt x="17" y="37"/>
                      <a:pt x="17" y="36"/>
                    </a:cubicBezTo>
                    <a:cubicBezTo>
                      <a:pt x="16" y="33"/>
                      <a:pt x="13" y="31"/>
                      <a:pt x="9" y="29"/>
                    </a:cubicBezTo>
                    <a:lnTo>
                      <a:pt x="10" y="28"/>
                    </a:lnTo>
                    <a:close/>
                    <a:moveTo>
                      <a:pt x="3" y="58"/>
                    </a:moveTo>
                    <a:cubicBezTo>
                      <a:pt x="26" y="65"/>
                      <a:pt x="26" y="65"/>
                      <a:pt x="26" y="65"/>
                    </a:cubicBezTo>
                    <a:cubicBezTo>
                      <a:pt x="31" y="66"/>
                      <a:pt x="36" y="70"/>
                      <a:pt x="39" y="76"/>
                    </a:cubicBezTo>
                    <a:cubicBezTo>
                      <a:pt x="42" y="82"/>
                      <a:pt x="44" y="88"/>
                      <a:pt x="44" y="94"/>
                    </a:cubicBezTo>
                    <a:cubicBezTo>
                      <a:pt x="44" y="96"/>
                      <a:pt x="44" y="98"/>
                      <a:pt x="43" y="100"/>
                    </a:cubicBezTo>
                    <a:cubicBezTo>
                      <a:pt x="42" y="96"/>
                      <a:pt x="37" y="93"/>
                      <a:pt x="30" y="90"/>
                    </a:cubicBezTo>
                    <a:cubicBezTo>
                      <a:pt x="24" y="87"/>
                      <a:pt x="20" y="84"/>
                      <a:pt x="18" y="81"/>
                    </a:cubicBezTo>
                    <a:cubicBezTo>
                      <a:pt x="17" y="76"/>
                      <a:pt x="15" y="72"/>
                      <a:pt x="14" y="68"/>
                    </a:cubicBezTo>
                    <a:cubicBezTo>
                      <a:pt x="12" y="63"/>
                      <a:pt x="8" y="60"/>
                      <a:pt x="3" y="59"/>
                    </a:cubicBezTo>
                    <a:lnTo>
                      <a:pt x="3" y="58"/>
                    </a:lnTo>
                    <a:close/>
                    <a:moveTo>
                      <a:pt x="0" y="84"/>
                    </a:moveTo>
                    <a:cubicBezTo>
                      <a:pt x="26" y="92"/>
                      <a:pt x="26" y="92"/>
                      <a:pt x="26" y="92"/>
                    </a:cubicBezTo>
                    <a:cubicBezTo>
                      <a:pt x="31" y="93"/>
                      <a:pt x="35" y="96"/>
                      <a:pt x="38" y="101"/>
                    </a:cubicBezTo>
                    <a:cubicBezTo>
                      <a:pt x="42" y="105"/>
                      <a:pt x="43" y="110"/>
                      <a:pt x="43" y="115"/>
                    </a:cubicBezTo>
                    <a:cubicBezTo>
                      <a:pt x="43" y="117"/>
                      <a:pt x="43" y="119"/>
                      <a:pt x="42" y="121"/>
                    </a:cubicBezTo>
                    <a:cubicBezTo>
                      <a:pt x="39" y="122"/>
                      <a:pt x="35" y="121"/>
                      <a:pt x="31" y="119"/>
                    </a:cubicBezTo>
                    <a:cubicBezTo>
                      <a:pt x="26" y="117"/>
                      <a:pt x="22" y="113"/>
                      <a:pt x="20" y="109"/>
                    </a:cubicBezTo>
                    <a:cubicBezTo>
                      <a:pt x="18" y="104"/>
                      <a:pt x="15" y="100"/>
                      <a:pt x="13" y="95"/>
                    </a:cubicBezTo>
                    <a:cubicBezTo>
                      <a:pt x="11" y="90"/>
                      <a:pt x="6" y="87"/>
                      <a:pt x="0" y="85"/>
                    </a:cubicBezTo>
                    <a:lnTo>
                      <a:pt x="0" y="8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  <p:sp>
            <p:nvSpPr>
              <p:cNvPr id="544" name="Shape 544"/>
              <p:cNvSpPr/>
              <p:nvPr/>
            </p:nvSpPr>
            <p:spPr>
              <a:xfrm>
                <a:off x="-621" y="2015"/>
                <a:ext cx="0" cy="299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  <p:sp>
            <p:nvSpPr>
              <p:cNvPr id="545" name="Shape 545"/>
              <p:cNvSpPr/>
              <p:nvPr/>
            </p:nvSpPr>
            <p:spPr>
              <a:xfrm>
                <a:off x="-621" y="2015"/>
                <a:ext cx="15" cy="174"/>
              </a:xfrm>
              <a:custGeom>
                <a:avLst/>
                <a:gdLst/>
                <a:ahLst/>
                <a:cxnLst/>
                <a:rect l="0" t="0" r="0" b="0"/>
                <a:pathLst>
                  <a:path w="16" h="175" extrusionOk="0">
                    <a:moveTo>
                      <a:pt x="0" y="0"/>
                    </a:moveTo>
                    <a:lnTo>
                      <a:pt x="0" y="175"/>
                    </a:lnTo>
                    <a:lnTo>
                      <a:pt x="16" y="175"/>
                    </a:lnTo>
                    <a:lnTo>
                      <a:pt x="16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</p:grpSp>
      </p:grpSp>
      <p:grpSp>
        <p:nvGrpSpPr>
          <p:cNvPr id="546" name="Shape 546"/>
          <p:cNvGrpSpPr/>
          <p:nvPr/>
        </p:nvGrpSpPr>
        <p:grpSpPr>
          <a:xfrm>
            <a:off x="507999" y="1862665"/>
            <a:ext cx="8103395" cy="486772"/>
            <a:chOff x="507999" y="1862665"/>
            <a:chExt cx="8103395" cy="486772"/>
          </a:xfrm>
        </p:grpSpPr>
        <p:cxnSp>
          <p:nvCxnSpPr>
            <p:cNvPr id="547" name="Shape 547"/>
            <p:cNvCxnSpPr/>
            <p:nvPr/>
          </p:nvCxnSpPr>
          <p:spPr>
            <a:xfrm>
              <a:off x="608893" y="2336800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grpSp>
          <p:nvGrpSpPr>
            <p:cNvPr id="548" name="Shape 548"/>
            <p:cNvGrpSpPr/>
            <p:nvPr/>
          </p:nvGrpSpPr>
          <p:grpSpPr>
            <a:xfrm>
              <a:off x="507999" y="1862665"/>
              <a:ext cx="230229" cy="486772"/>
              <a:chOff x="-721" y="1729"/>
              <a:chExt cx="218" cy="461"/>
            </a:xfrm>
          </p:grpSpPr>
          <p:sp>
            <p:nvSpPr>
              <p:cNvPr id="549" name="Shape 549"/>
              <p:cNvSpPr/>
              <p:nvPr/>
            </p:nvSpPr>
            <p:spPr>
              <a:xfrm>
                <a:off x="-721" y="1729"/>
                <a:ext cx="218" cy="287"/>
              </a:xfrm>
              <a:custGeom>
                <a:avLst/>
                <a:gdLst/>
                <a:ahLst/>
                <a:cxnLst/>
                <a:rect l="0" t="0" r="0" b="0"/>
                <a:pathLst>
                  <a:path w="92" h="122" extrusionOk="0">
                    <a:moveTo>
                      <a:pt x="48" y="115"/>
                    </a:moveTo>
                    <a:cubicBezTo>
                      <a:pt x="48" y="110"/>
                      <a:pt x="50" y="105"/>
                      <a:pt x="53" y="101"/>
                    </a:cubicBezTo>
                    <a:cubicBezTo>
                      <a:pt x="56" y="96"/>
                      <a:pt x="61" y="93"/>
                      <a:pt x="66" y="92"/>
                    </a:cubicBezTo>
                    <a:cubicBezTo>
                      <a:pt x="92" y="84"/>
                      <a:pt x="92" y="84"/>
                      <a:pt x="92" y="84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86" y="87"/>
                      <a:pt x="81" y="90"/>
                      <a:pt x="79" y="95"/>
                    </a:cubicBezTo>
                    <a:cubicBezTo>
                      <a:pt x="76" y="100"/>
                      <a:pt x="74" y="104"/>
                      <a:pt x="72" y="109"/>
                    </a:cubicBezTo>
                    <a:cubicBezTo>
                      <a:pt x="70" y="113"/>
                      <a:pt x="66" y="117"/>
                      <a:pt x="61" y="119"/>
                    </a:cubicBezTo>
                    <a:cubicBezTo>
                      <a:pt x="57" y="121"/>
                      <a:pt x="53" y="122"/>
                      <a:pt x="50" y="121"/>
                    </a:cubicBezTo>
                    <a:cubicBezTo>
                      <a:pt x="49" y="119"/>
                      <a:pt x="48" y="117"/>
                      <a:pt x="48" y="115"/>
                    </a:cubicBezTo>
                    <a:moveTo>
                      <a:pt x="48" y="94"/>
                    </a:moveTo>
                    <a:cubicBezTo>
                      <a:pt x="48" y="88"/>
                      <a:pt x="50" y="82"/>
                      <a:pt x="53" y="76"/>
                    </a:cubicBezTo>
                    <a:cubicBezTo>
                      <a:pt x="56" y="70"/>
                      <a:pt x="61" y="66"/>
                      <a:pt x="66" y="65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4" y="60"/>
                      <a:pt x="80" y="63"/>
                      <a:pt x="78" y="68"/>
                    </a:cubicBezTo>
                    <a:cubicBezTo>
                      <a:pt x="77" y="72"/>
                      <a:pt x="75" y="76"/>
                      <a:pt x="74" y="81"/>
                    </a:cubicBezTo>
                    <a:cubicBezTo>
                      <a:pt x="72" y="84"/>
                      <a:pt x="68" y="87"/>
                      <a:pt x="61" y="90"/>
                    </a:cubicBezTo>
                    <a:cubicBezTo>
                      <a:pt x="55" y="93"/>
                      <a:pt x="50" y="96"/>
                      <a:pt x="48" y="100"/>
                    </a:cubicBezTo>
                    <a:cubicBezTo>
                      <a:pt x="48" y="98"/>
                      <a:pt x="48" y="96"/>
                      <a:pt x="48" y="94"/>
                    </a:cubicBezTo>
                    <a:moveTo>
                      <a:pt x="39" y="27"/>
                    </a:moveTo>
                    <a:cubicBezTo>
                      <a:pt x="39" y="19"/>
                      <a:pt x="43" y="10"/>
                      <a:pt x="52" y="0"/>
                    </a:cubicBezTo>
                    <a:cubicBezTo>
                      <a:pt x="54" y="6"/>
                      <a:pt x="55" y="11"/>
                      <a:pt x="55" y="17"/>
                    </a:cubicBezTo>
                    <a:cubicBezTo>
                      <a:pt x="55" y="25"/>
                      <a:pt x="52" y="36"/>
                      <a:pt x="46" y="49"/>
                    </a:cubicBezTo>
                    <a:cubicBezTo>
                      <a:pt x="41" y="40"/>
                      <a:pt x="39" y="33"/>
                      <a:pt x="39" y="27"/>
                    </a:cubicBezTo>
                    <a:moveTo>
                      <a:pt x="10" y="28"/>
                    </a:move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41"/>
                      <a:pt x="38" y="45"/>
                      <a:pt x="41" y="50"/>
                    </a:cubicBezTo>
                    <a:cubicBezTo>
                      <a:pt x="43" y="55"/>
                      <a:pt x="45" y="61"/>
                      <a:pt x="46" y="67"/>
                    </a:cubicBezTo>
                    <a:cubicBezTo>
                      <a:pt x="47" y="61"/>
                      <a:pt x="49" y="55"/>
                      <a:pt x="51" y="50"/>
                    </a:cubicBezTo>
                    <a:cubicBezTo>
                      <a:pt x="54" y="45"/>
                      <a:pt x="57" y="41"/>
                      <a:pt x="60" y="3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79" y="31"/>
                      <a:pt x="76" y="33"/>
                      <a:pt x="75" y="36"/>
                    </a:cubicBezTo>
                    <a:cubicBezTo>
                      <a:pt x="74" y="37"/>
                      <a:pt x="74" y="40"/>
                      <a:pt x="74" y="44"/>
                    </a:cubicBezTo>
                    <a:cubicBezTo>
                      <a:pt x="73" y="47"/>
                      <a:pt x="72" y="50"/>
                      <a:pt x="71" y="53"/>
                    </a:cubicBezTo>
                    <a:cubicBezTo>
                      <a:pt x="70" y="55"/>
                      <a:pt x="66" y="59"/>
                      <a:pt x="58" y="64"/>
                    </a:cubicBezTo>
                    <a:cubicBezTo>
                      <a:pt x="51" y="70"/>
                      <a:pt x="47" y="74"/>
                      <a:pt x="46" y="77"/>
                    </a:cubicBezTo>
                    <a:cubicBezTo>
                      <a:pt x="45" y="74"/>
                      <a:pt x="41" y="70"/>
                      <a:pt x="34" y="64"/>
                    </a:cubicBezTo>
                    <a:cubicBezTo>
                      <a:pt x="26" y="59"/>
                      <a:pt x="22" y="55"/>
                      <a:pt x="21" y="53"/>
                    </a:cubicBezTo>
                    <a:cubicBezTo>
                      <a:pt x="20" y="50"/>
                      <a:pt x="19" y="47"/>
                      <a:pt x="18" y="44"/>
                    </a:cubicBezTo>
                    <a:cubicBezTo>
                      <a:pt x="18" y="40"/>
                      <a:pt x="17" y="37"/>
                      <a:pt x="17" y="36"/>
                    </a:cubicBezTo>
                    <a:cubicBezTo>
                      <a:pt x="16" y="33"/>
                      <a:pt x="13" y="31"/>
                      <a:pt x="9" y="29"/>
                    </a:cubicBezTo>
                    <a:lnTo>
                      <a:pt x="10" y="28"/>
                    </a:lnTo>
                    <a:close/>
                    <a:moveTo>
                      <a:pt x="3" y="58"/>
                    </a:moveTo>
                    <a:cubicBezTo>
                      <a:pt x="26" y="65"/>
                      <a:pt x="26" y="65"/>
                      <a:pt x="26" y="65"/>
                    </a:cubicBezTo>
                    <a:cubicBezTo>
                      <a:pt x="31" y="66"/>
                      <a:pt x="36" y="70"/>
                      <a:pt x="39" y="76"/>
                    </a:cubicBezTo>
                    <a:cubicBezTo>
                      <a:pt x="42" y="82"/>
                      <a:pt x="44" y="88"/>
                      <a:pt x="44" y="94"/>
                    </a:cubicBezTo>
                    <a:cubicBezTo>
                      <a:pt x="44" y="96"/>
                      <a:pt x="44" y="98"/>
                      <a:pt x="43" y="100"/>
                    </a:cubicBezTo>
                    <a:cubicBezTo>
                      <a:pt x="42" y="96"/>
                      <a:pt x="37" y="93"/>
                      <a:pt x="30" y="90"/>
                    </a:cubicBezTo>
                    <a:cubicBezTo>
                      <a:pt x="24" y="87"/>
                      <a:pt x="20" y="84"/>
                      <a:pt x="18" y="81"/>
                    </a:cubicBezTo>
                    <a:cubicBezTo>
                      <a:pt x="17" y="76"/>
                      <a:pt x="15" y="72"/>
                      <a:pt x="14" y="68"/>
                    </a:cubicBezTo>
                    <a:cubicBezTo>
                      <a:pt x="12" y="63"/>
                      <a:pt x="8" y="60"/>
                      <a:pt x="3" y="59"/>
                    </a:cubicBezTo>
                    <a:lnTo>
                      <a:pt x="3" y="58"/>
                    </a:lnTo>
                    <a:close/>
                    <a:moveTo>
                      <a:pt x="0" y="84"/>
                    </a:moveTo>
                    <a:cubicBezTo>
                      <a:pt x="26" y="92"/>
                      <a:pt x="26" y="92"/>
                      <a:pt x="26" y="92"/>
                    </a:cubicBezTo>
                    <a:cubicBezTo>
                      <a:pt x="31" y="93"/>
                      <a:pt x="35" y="96"/>
                      <a:pt x="38" y="101"/>
                    </a:cubicBezTo>
                    <a:cubicBezTo>
                      <a:pt x="42" y="105"/>
                      <a:pt x="43" y="110"/>
                      <a:pt x="43" y="115"/>
                    </a:cubicBezTo>
                    <a:cubicBezTo>
                      <a:pt x="43" y="117"/>
                      <a:pt x="43" y="119"/>
                      <a:pt x="42" y="121"/>
                    </a:cubicBezTo>
                    <a:cubicBezTo>
                      <a:pt x="39" y="122"/>
                      <a:pt x="35" y="121"/>
                      <a:pt x="31" y="119"/>
                    </a:cubicBezTo>
                    <a:cubicBezTo>
                      <a:pt x="26" y="117"/>
                      <a:pt x="22" y="113"/>
                      <a:pt x="20" y="109"/>
                    </a:cubicBezTo>
                    <a:cubicBezTo>
                      <a:pt x="18" y="104"/>
                      <a:pt x="15" y="100"/>
                      <a:pt x="13" y="95"/>
                    </a:cubicBezTo>
                    <a:cubicBezTo>
                      <a:pt x="11" y="90"/>
                      <a:pt x="6" y="87"/>
                      <a:pt x="0" y="85"/>
                    </a:cubicBezTo>
                    <a:lnTo>
                      <a:pt x="0" y="8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  <p:sp>
            <p:nvSpPr>
              <p:cNvPr id="550" name="Shape 550"/>
              <p:cNvSpPr/>
              <p:nvPr/>
            </p:nvSpPr>
            <p:spPr>
              <a:xfrm>
                <a:off x="-621" y="2015"/>
                <a:ext cx="15" cy="174"/>
              </a:xfrm>
              <a:custGeom>
                <a:avLst/>
                <a:gdLst/>
                <a:ahLst/>
                <a:cxnLst/>
                <a:rect l="0" t="0" r="0" b="0"/>
                <a:pathLst>
                  <a:path w="16" h="175" extrusionOk="0">
                    <a:moveTo>
                      <a:pt x="0" y="0"/>
                    </a:moveTo>
                    <a:lnTo>
                      <a:pt x="0" y="175"/>
                    </a:lnTo>
                    <a:lnTo>
                      <a:pt x="16" y="175"/>
                    </a:lnTo>
                    <a:lnTo>
                      <a:pt x="1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</p:grpSp>
      </p:grpSp>
      <p:grpSp>
        <p:nvGrpSpPr>
          <p:cNvPr id="551" name="Shape 551"/>
          <p:cNvGrpSpPr/>
          <p:nvPr/>
        </p:nvGrpSpPr>
        <p:grpSpPr>
          <a:xfrm>
            <a:off x="517844" y="3624808"/>
            <a:ext cx="8103395" cy="618761"/>
            <a:chOff x="507999" y="2429936"/>
            <a:chExt cx="8103395" cy="618761"/>
          </a:xfrm>
        </p:grpSpPr>
        <p:cxnSp>
          <p:nvCxnSpPr>
            <p:cNvPr id="552" name="Shape 552"/>
            <p:cNvCxnSpPr/>
            <p:nvPr/>
          </p:nvCxnSpPr>
          <p:spPr>
            <a:xfrm>
              <a:off x="608893" y="2904066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4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grpSp>
          <p:nvGrpSpPr>
            <p:cNvPr id="553" name="Shape 553"/>
            <p:cNvGrpSpPr/>
            <p:nvPr/>
          </p:nvGrpSpPr>
          <p:grpSpPr>
            <a:xfrm>
              <a:off x="507999" y="2429936"/>
              <a:ext cx="230229" cy="618761"/>
              <a:chOff x="-721" y="1729"/>
              <a:chExt cx="218" cy="586"/>
            </a:xfrm>
          </p:grpSpPr>
          <p:sp>
            <p:nvSpPr>
              <p:cNvPr id="554" name="Shape 554"/>
              <p:cNvSpPr/>
              <p:nvPr/>
            </p:nvSpPr>
            <p:spPr>
              <a:xfrm>
                <a:off x="-721" y="1729"/>
                <a:ext cx="218" cy="287"/>
              </a:xfrm>
              <a:custGeom>
                <a:avLst/>
                <a:gdLst/>
                <a:ahLst/>
                <a:cxnLst/>
                <a:rect l="0" t="0" r="0" b="0"/>
                <a:pathLst>
                  <a:path w="92" h="122" extrusionOk="0">
                    <a:moveTo>
                      <a:pt x="48" y="115"/>
                    </a:moveTo>
                    <a:cubicBezTo>
                      <a:pt x="48" y="110"/>
                      <a:pt x="50" y="105"/>
                      <a:pt x="53" y="101"/>
                    </a:cubicBezTo>
                    <a:cubicBezTo>
                      <a:pt x="56" y="96"/>
                      <a:pt x="61" y="93"/>
                      <a:pt x="66" y="92"/>
                    </a:cubicBezTo>
                    <a:cubicBezTo>
                      <a:pt x="92" y="84"/>
                      <a:pt x="92" y="84"/>
                      <a:pt x="92" y="84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86" y="87"/>
                      <a:pt x="81" y="90"/>
                      <a:pt x="79" y="95"/>
                    </a:cubicBezTo>
                    <a:cubicBezTo>
                      <a:pt x="76" y="100"/>
                      <a:pt x="74" y="104"/>
                      <a:pt x="72" y="109"/>
                    </a:cubicBezTo>
                    <a:cubicBezTo>
                      <a:pt x="70" y="113"/>
                      <a:pt x="66" y="117"/>
                      <a:pt x="61" y="119"/>
                    </a:cubicBezTo>
                    <a:cubicBezTo>
                      <a:pt x="57" y="121"/>
                      <a:pt x="53" y="122"/>
                      <a:pt x="50" y="121"/>
                    </a:cubicBezTo>
                    <a:cubicBezTo>
                      <a:pt x="49" y="119"/>
                      <a:pt x="48" y="117"/>
                      <a:pt x="48" y="115"/>
                    </a:cubicBezTo>
                    <a:moveTo>
                      <a:pt x="48" y="94"/>
                    </a:moveTo>
                    <a:cubicBezTo>
                      <a:pt x="48" y="88"/>
                      <a:pt x="50" y="82"/>
                      <a:pt x="53" y="76"/>
                    </a:cubicBezTo>
                    <a:cubicBezTo>
                      <a:pt x="56" y="70"/>
                      <a:pt x="61" y="66"/>
                      <a:pt x="66" y="65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4" y="60"/>
                      <a:pt x="80" y="63"/>
                      <a:pt x="78" y="68"/>
                    </a:cubicBezTo>
                    <a:cubicBezTo>
                      <a:pt x="77" y="72"/>
                      <a:pt x="75" y="76"/>
                      <a:pt x="74" y="81"/>
                    </a:cubicBezTo>
                    <a:cubicBezTo>
                      <a:pt x="72" y="84"/>
                      <a:pt x="68" y="87"/>
                      <a:pt x="61" y="90"/>
                    </a:cubicBezTo>
                    <a:cubicBezTo>
                      <a:pt x="55" y="93"/>
                      <a:pt x="50" y="96"/>
                      <a:pt x="48" y="100"/>
                    </a:cubicBezTo>
                    <a:cubicBezTo>
                      <a:pt x="48" y="98"/>
                      <a:pt x="48" y="96"/>
                      <a:pt x="48" y="94"/>
                    </a:cubicBezTo>
                    <a:moveTo>
                      <a:pt x="39" y="27"/>
                    </a:moveTo>
                    <a:cubicBezTo>
                      <a:pt x="39" y="19"/>
                      <a:pt x="43" y="10"/>
                      <a:pt x="52" y="0"/>
                    </a:cubicBezTo>
                    <a:cubicBezTo>
                      <a:pt x="54" y="6"/>
                      <a:pt x="55" y="11"/>
                      <a:pt x="55" y="17"/>
                    </a:cubicBezTo>
                    <a:cubicBezTo>
                      <a:pt x="55" y="25"/>
                      <a:pt x="52" y="36"/>
                      <a:pt x="46" y="49"/>
                    </a:cubicBezTo>
                    <a:cubicBezTo>
                      <a:pt x="41" y="40"/>
                      <a:pt x="39" y="33"/>
                      <a:pt x="39" y="27"/>
                    </a:cubicBezTo>
                    <a:moveTo>
                      <a:pt x="10" y="28"/>
                    </a:move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41"/>
                      <a:pt x="38" y="45"/>
                      <a:pt x="41" y="50"/>
                    </a:cubicBezTo>
                    <a:cubicBezTo>
                      <a:pt x="43" y="55"/>
                      <a:pt x="45" y="61"/>
                      <a:pt x="46" y="67"/>
                    </a:cubicBezTo>
                    <a:cubicBezTo>
                      <a:pt x="47" y="61"/>
                      <a:pt x="49" y="55"/>
                      <a:pt x="51" y="50"/>
                    </a:cubicBezTo>
                    <a:cubicBezTo>
                      <a:pt x="54" y="45"/>
                      <a:pt x="57" y="41"/>
                      <a:pt x="60" y="3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79" y="31"/>
                      <a:pt x="76" y="33"/>
                      <a:pt x="75" y="36"/>
                    </a:cubicBezTo>
                    <a:cubicBezTo>
                      <a:pt x="74" y="37"/>
                      <a:pt x="74" y="40"/>
                      <a:pt x="74" y="44"/>
                    </a:cubicBezTo>
                    <a:cubicBezTo>
                      <a:pt x="73" y="47"/>
                      <a:pt x="72" y="50"/>
                      <a:pt x="71" y="53"/>
                    </a:cubicBezTo>
                    <a:cubicBezTo>
                      <a:pt x="70" y="55"/>
                      <a:pt x="66" y="59"/>
                      <a:pt x="58" y="64"/>
                    </a:cubicBezTo>
                    <a:cubicBezTo>
                      <a:pt x="51" y="70"/>
                      <a:pt x="47" y="74"/>
                      <a:pt x="46" y="77"/>
                    </a:cubicBezTo>
                    <a:cubicBezTo>
                      <a:pt x="45" y="74"/>
                      <a:pt x="41" y="70"/>
                      <a:pt x="34" y="64"/>
                    </a:cubicBezTo>
                    <a:cubicBezTo>
                      <a:pt x="26" y="59"/>
                      <a:pt x="22" y="55"/>
                      <a:pt x="21" y="53"/>
                    </a:cubicBezTo>
                    <a:cubicBezTo>
                      <a:pt x="20" y="50"/>
                      <a:pt x="19" y="47"/>
                      <a:pt x="18" y="44"/>
                    </a:cubicBezTo>
                    <a:cubicBezTo>
                      <a:pt x="18" y="40"/>
                      <a:pt x="17" y="37"/>
                      <a:pt x="17" y="36"/>
                    </a:cubicBezTo>
                    <a:cubicBezTo>
                      <a:pt x="16" y="33"/>
                      <a:pt x="13" y="31"/>
                      <a:pt x="9" y="29"/>
                    </a:cubicBezTo>
                    <a:lnTo>
                      <a:pt x="10" y="28"/>
                    </a:lnTo>
                    <a:close/>
                    <a:moveTo>
                      <a:pt x="3" y="58"/>
                    </a:moveTo>
                    <a:cubicBezTo>
                      <a:pt x="26" y="65"/>
                      <a:pt x="26" y="65"/>
                      <a:pt x="26" y="65"/>
                    </a:cubicBezTo>
                    <a:cubicBezTo>
                      <a:pt x="31" y="66"/>
                      <a:pt x="36" y="70"/>
                      <a:pt x="39" y="76"/>
                    </a:cubicBezTo>
                    <a:cubicBezTo>
                      <a:pt x="42" y="82"/>
                      <a:pt x="44" y="88"/>
                      <a:pt x="44" y="94"/>
                    </a:cubicBezTo>
                    <a:cubicBezTo>
                      <a:pt x="44" y="96"/>
                      <a:pt x="44" y="98"/>
                      <a:pt x="43" y="100"/>
                    </a:cubicBezTo>
                    <a:cubicBezTo>
                      <a:pt x="42" y="96"/>
                      <a:pt x="37" y="93"/>
                      <a:pt x="30" y="90"/>
                    </a:cubicBezTo>
                    <a:cubicBezTo>
                      <a:pt x="24" y="87"/>
                      <a:pt x="20" y="84"/>
                      <a:pt x="18" y="81"/>
                    </a:cubicBezTo>
                    <a:cubicBezTo>
                      <a:pt x="17" y="76"/>
                      <a:pt x="15" y="72"/>
                      <a:pt x="14" y="68"/>
                    </a:cubicBezTo>
                    <a:cubicBezTo>
                      <a:pt x="12" y="63"/>
                      <a:pt x="8" y="60"/>
                      <a:pt x="3" y="59"/>
                    </a:cubicBezTo>
                    <a:lnTo>
                      <a:pt x="3" y="58"/>
                    </a:lnTo>
                    <a:close/>
                    <a:moveTo>
                      <a:pt x="0" y="84"/>
                    </a:moveTo>
                    <a:cubicBezTo>
                      <a:pt x="26" y="92"/>
                      <a:pt x="26" y="92"/>
                      <a:pt x="26" y="92"/>
                    </a:cubicBezTo>
                    <a:cubicBezTo>
                      <a:pt x="31" y="93"/>
                      <a:pt x="35" y="96"/>
                      <a:pt x="38" y="101"/>
                    </a:cubicBezTo>
                    <a:cubicBezTo>
                      <a:pt x="42" y="105"/>
                      <a:pt x="43" y="110"/>
                      <a:pt x="43" y="115"/>
                    </a:cubicBezTo>
                    <a:cubicBezTo>
                      <a:pt x="43" y="117"/>
                      <a:pt x="43" y="119"/>
                      <a:pt x="42" y="121"/>
                    </a:cubicBezTo>
                    <a:cubicBezTo>
                      <a:pt x="39" y="122"/>
                      <a:pt x="35" y="121"/>
                      <a:pt x="31" y="119"/>
                    </a:cubicBezTo>
                    <a:cubicBezTo>
                      <a:pt x="26" y="117"/>
                      <a:pt x="22" y="113"/>
                      <a:pt x="20" y="109"/>
                    </a:cubicBezTo>
                    <a:cubicBezTo>
                      <a:pt x="18" y="104"/>
                      <a:pt x="15" y="100"/>
                      <a:pt x="13" y="95"/>
                    </a:cubicBezTo>
                    <a:cubicBezTo>
                      <a:pt x="11" y="90"/>
                      <a:pt x="6" y="87"/>
                      <a:pt x="0" y="85"/>
                    </a:cubicBezTo>
                    <a:lnTo>
                      <a:pt x="0" y="8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  <p:sp>
            <p:nvSpPr>
              <p:cNvPr id="555" name="Shape 555"/>
              <p:cNvSpPr/>
              <p:nvPr/>
            </p:nvSpPr>
            <p:spPr>
              <a:xfrm>
                <a:off x="-621" y="2015"/>
                <a:ext cx="0" cy="29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endParaRPr dirty="0"/>
              </a:p>
            </p:txBody>
          </p:sp>
        </p:grpSp>
      </p:grpSp>
      <p:grpSp>
        <p:nvGrpSpPr>
          <p:cNvPr id="556" name="Shape 556"/>
          <p:cNvGrpSpPr/>
          <p:nvPr/>
        </p:nvGrpSpPr>
        <p:grpSpPr>
          <a:xfrm>
            <a:off x="517844" y="3040605"/>
            <a:ext cx="8103395" cy="486788"/>
            <a:chOff x="507999" y="2988733"/>
            <a:chExt cx="8103395" cy="486788"/>
          </a:xfrm>
        </p:grpSpPr>
        <p:cxnSp>
          <p:nvCxnSpPr>
            <p:cNvPr id="557" name="Shape 557"/>
            <p:cNvCxnSpPr/>
            <p:nvPr/>
          </p:nvCxnSpPr>
          <p:spPr>
            <a:xfrm>
              <a:off x="608893" y="3471332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558" name="Shape 558"/>
            <p:cNvSpPr/>
            <p:nvPr/>
          </p:nvSpPr>
          <p:spPr>
            <a:xfrm>
              <a:off x="507999" y="2988733"/>
              <a:ext cx="230186" cy="304100"/>
            </a:xfrm>
            <a:custGeom>
              <a:avLst/>
              <a:gdLst/>
              <a:ahLst/>
              <a:cxnLst/>
              <a:rect l="0" t="0" r="0" b="0"/>
              <a:pathLst>
                <a:path w="92" h="122" extrusionOk="0">
                  <a:moveTo>
                    <a:pt x="48" y="115"/>
                  </a:moveTo>
                  <a:cubicBezTo>
                    <a:pt x="48" y="110"/>
                    <a:pt x="50" y="105"/>
                    <a:pt x="53" y="101"/>
                  </a:cubicBezTo>
                  <a:cubicBezTo>
                    <a:pt x="56" y="96"/>
                    <a:pt x="61" y="93"/>
                    <a:pt x="66" y="92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86" y="87"/>
                    <a:pt x="81" y="90"/>
                    <a:pt x="79" y="95"/>
                  </a:cubicBezTo>
                  <a:cubicBezTo>
                    <a:pt x="76" y="100"/>
                    <a:pt x="74" y="104"/>
                    <a:pt x="72" y="109"/>
                  </a:cubicBezTo>
                  <a:cubicBezTo>
                    <a:pt x="70" y="113"/>
                    <a:pt x="66" y="117"/>
                    <a:pt x="61" y="119"/>
                  </a:cubicBezTo>
                  <a:cubicBezTo>
                    <a:pt x="57" y="121"/>
                    <a:pt x="53" y="122"/>
                    <a:pt x="50" y="121"/>
                  </a:cubicBezTo>
                  <a:cubicBezTo>
                    <a:pt x="49" y="119"/>
                    <a:pt x="48" y="117"/>
                    <a:pt x="48" y="115"/>
                  </a:cubicBezTo>
                  <a:moveTo>
                    <a:pt x="48" y="94"/>
                  </a:moveTo>
                  <a:cubicBezTo>
                    <a:pt x="48" y="88"/>
                    <a:pt x="50" y="82"/>
                    <a:pt x="53" y="76"/>
                  </a:cubicBezTo>
                  <a:cubicBezTo>
                    <a:pt x="56" y="70"/>
                    <a:pt x="61" y="66"/>
                    <a:pt x="66" y="65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4" y="60"/>
                    <a:pt x="80" y="63"/>
                    <a:pt x="78" y="68"/>
                  </a:cubicBezTo>
                  <a:cubicBezTo>
                    <a:pt x="77" y="72"/>
                    <a:pt x="75" y="76"/>
                    <a:pt x="74" y="81"/>
                  </a:cubicBezTo>
                  <a:cubicBezTo>
                    <a:pt x="72" y="84"/>
                    <a:pt x="68" y="87"/>
                    <a:pt x="61" y="90"/>
                  </a:cubicBezTo>
                  <a:cubicBezTo>
                    <a:pt x="55" y="93"/>
                    <a:pt x="50" y="96"/>
                    <a:pt x="48" y="100"/>
                  </a:cubicBezTo>
                  <a:cubicBezTo>
                    <a:pt x="48" y="98"/>
                    <a:pt x="48" y="96"/>
                    <a:pt x="48" y="94"/>
                  </a:cubicBezTo>
                  <a:moveTo>
                    <a:pt x="39" y="27"/>
                  </a:moveTo>
                  <a:cubicBezTo>
                    <a:pt x="39" y="19"/>
                    <a:pt x="43" y="10"/>
                    <a:pt x="52" y="0"/>
                  </a:cubicBezTo>
                  <a:cubicBezTo>
                    <a:pt x="54" y="6"/>
                    <a:pt x="55" y="11"/>
                    <a:pt x="55" y="17"/>
                  </a:cubicBezTo>
                  <a:cubicBezTo>
                    <a:pt x="55" y="25"/>
                    <a:pt x="52" y="36"/>
                    <a:pt x="46" y="49"/>
                  </a:cubicBezTo>
                  <a:cubicBezTo>
                    <a:pt x="41" y="40"/>
                    <a:pt x="39" y="33"/>
                    <a:pt x="39" y="27"/>
                  </a:cubicBezTo>
                  <a:moveTo>
                    <a:pt x="10" y="28"/>
                  </a:moveTo>
                  <a:cubicBezTo>
                    <a:pt x="31" y="39"/>
                    <a:pt x="31" y="39"/>
                    <a:pt x="31" y="39"/>
                  </a:cubicBezTo>
                  <a:cubicBezTo>
                    <a:pt x="35" y="41"/>
                    <a:pt x="38" y="45"/>
                    <a:pt x="41" y="50"/>
                  </a:cubicBezTo>
                  <a:cubicBezTo>
                    <a:pt x="43" y="55"/>
                    <a:pt x="45" y="61"/>
                    <a:pt x="46" y="67"/>
                  </a:cubicBezTo>
                  <a:cubicBezTo>
                    <a:pt x="47" y="61"/>
                    <a:pt x="49" y="55"/>
                    <a:pt x="51" y="50"/>
                  </a:cubicBezTo>
                  <a:cubicBezTo>
                    <a:pt x="54" y="45"/>
                    <a:pt x="57" y="41"/>
                    <a:pt x="60" y="3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9" y="31"/>
                    <a:pt x="76" y="33"/>
                    <a:pt x="75" y="36"/>
                  </a:cubicBezTo>
                  <a:cubicBezTo>
                    <a:pt x="74" y="37"/>
                    <a:pt x="74" y="40"/>
                    <a:pt x="74" y="44"/>
                  </a:cubicBezTo>
                  <a:cubicBezTo>
                    <a:pt x="73" y="47"/>
                    <a:pt x="72" y="50"/>
                    <a:pt x="71" y="53"/>
                  </a:cubicBezTo>
                  <a:cubicBezTo>
                    <a:pt x="70" y="55"/>
                    <a:pt x="66" y="59"/>
                    <a:pt x="58" y="64"/>
                  </a:cubicBezTo>
                  <a:cubicBezTo>
                    <a:pt x="51" y="70"/>
                    <a:pt x="47" y="74"/>
                    <a:pt x="46" y="77"/>
                  </a:cubicBezTo>
                  <a:cubicBezTo>
                    <a:pt x="45" y="74"/>
                    <a:pt x="41" y="70"/>
                    <a:pt x="34" y="64"/>
                  </a:cubicBezTo>
                  <a:cubicBezTo>
                    <a:pt x="26" y="59"/>
                    <a:pt x="22" y="55"/>
                    <a:pt x="21" y="53"/>
                  </a:cubicBezTo>
                  <a:cubicBezTo>
                    <a:pt x="20" y="50"/>
                    <a:pt x="19" y="47"/>
                    <a:pt x="18" y="44"/>
                  </a:cubicBezTo>
                  <a:cubicBezTo>
                    <a:pt x="18" y="40"/>
                    <a:pt x="17" y="37"/>
                    <a:pt x="17" y="36"/>
                  </a:cubicBezTo>
                  <a:cubicBezTo>
                    <a:pt x="16" y="33"/>
                    <a:pt x="13" y="31"/>
                    <a:pt x="9" y="29"/>
                  </a:cubicBezTo>
                  <a:lnTo>
                    <a:pt x="10" y="28"/>
                  </a:lnTo>
                  <a:close/>
                  <a:moveTo>
                    <a:pt x="3" y="5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31" y="66"/>
                    <a:pt x="36" y="70"/>
                    <a:pt x="39" y="76"/>
                  </a:cubicBezTo>
                  <a:cubicBezTo>
                    <a:pt x="42" y="82"/>
                    <a:pt x="44" y="88"/>
                    <a:pt x="44" y="94"/>
                  </a:cubicBezTo>
                  <a:cubicBezTo>
                    <a:pt x="44" y="96"/>
                    <a:pt x="44" y="98"/>
                    <a:pt x="43" y="100"/>
                  </a:cubicBezTo>
                  <a:cubicBezTo>
                    <a:pt x="42" y="96"/>
                    <a:pt x="37" y="93"/>
                    <a:pt x="30" y="90"/>
                  </a:cubicBezTo>
                  <a:cubicBezTo>
                    <a:pt x="24" y="87"/>
                    <a:pt x="20" y="84"/>
                    <a:pt x="18" y="81"/>
                  </a:cubicBezTo>
                  <a:cubicBezTo>
                    <a:pt x="17" y="76"/>
                    <a:pt x="15" y="72"/>
                    <a:pt x="14" y="68"/>
                  </a:cubicBezTo>
                  <a:cubicBezTo>
                    <a:pt x="12" y="63"/>
                    <a:pt x="8" y="60"/>
                    <a:pt x="3" y="59"/>
                  </a:cubicBezTo>
                  <a:lnTo>
                    <a:pt x="3" y="58"/>
                  </a:lnTo>
                  <a:close/>
                  <a:moveTo>
                    <a:pt x="0" y="84"/>
                  </a:moveTo>
                  <a:cubicBezTo>
                    <a:pt x="26" y="92"/>
                    <a:pt x="26" y="92"/>
                    <a:pt x="26" y="92"/>
                  </a:cubicBezTo>
                  <a:cubicBezTo>
                    <a:pt x="31" y="93"/>
                    <a:pt x="35" y="96"/>
                    <a:pt x="38" y="101"/>
                  </a:cubicBezTo>
                  <a:cubicBezTo>
                    <a:pt x="42" y="105"/>
                    <a:pt x="43" y="110"/>
                    <a:pt x="43" y="115"/>
                  </a:cubicBezTo>
                  <a:cubicBezTo>
                    <a:pt x="43" y="117"/>
                    <a:pt x="43" y="119"/>
                    <a:pt x="42" y="121"/>
                  </a:cubicBezTo>
                  <a:cubicBezTo>
                    <a:pt x="39" y="122"/>
                    <a:pt x="35" y="121"/>
                    <a:pt x="31" y="119"/>
                  </a:cubicBezTo>
                  <a:cubicBezTo>
                    <a:pt x="26" y="117"/>
                    <a:pt x="22" y="113"/>
                    <a:pt x="20" y="109"/>
                  </a:cubicBezTo>
                  <a:cubicBezTo>
                    <a:pt x="18" y="104"/>
                    <a:pt x="15" y="100"/>
                    <a:pt x="13" y="95"/>
                  </a:cubicBezTo>
                  <a:cubicBezTo>
                    <a:pt x="11" y="90"/>
                    <a:pt x="6" y="87"/>
                    <a:pt x="0" y="85"/>
                  </a:cubicBezTo>
                  <a:lnTo>
                    <a:pt x="0" y="8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  <p:sp>
          <p:nvSpPr>
            <p:cNvPr id="559" name="Shape 559"/>
            <p:cNvSpPr/>
            <p:nvPr/>
          </p:nvSpPr>
          <p:spPr>
            <a:xfrm>
              <a:off x="613589" y="3290721"/>
              <a:ext cx="16799" cy="18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  <p:sp>
          <p:nvSpPr>
            <p:cNvPr id="560" name="Shape 560"/>
            <p:cNvSpPr/>
            <p:nvPr/>
          </p:nvSpPr>
          <p:spPr>
            <a:xfrm>
              <a:off x="613589" y="3290721"/>
              <a:ext cx="16894" cy="184782"/>
            </a:xfrm>
            <a:custGeom>
              <a:avLst/>
              <a:gdLst/>
              <a:ahLst/>
              <a:cxnLst/>
              <a:rect l="0" t="0" r="0" b="0"/>
              <a:pathLst>
                <a:path w="16" h="175" extrusionOk="0">
                  <a:moveTo>
                    <a:pt x="0" y="0"/>
                  </a:moveTo>
                  <a:lnTo>
                    <a:pt x="0" y="175"/>
                  </a:lnTo>
                  <a:lnTo>
                    <a:pt x="16" y="175"/>
                  </a:lnTo>
                  <a:lnTo>
                    <a:pt x="16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</p:grpSp>
      <p:grpSp>
        <p:nvGrpSpPr>
          <p:cNvPr id="561" name="Shape 561"/>
          <p:cNvGrpSpPr/>
          <p:nvPr/>
        </p:nvGrpSpPr>
        <p:grpSpPr>
          <a:xfrm>
            <a:off x="517844" y="4217472"/>
            <a:ext cx="8103395" cy="486789"/>
            <a:chOff x="507999" y="3556000"/>
            <a:chExt cx="8103395" cy="486789"/>
          </a:xfrm>
        </p:grpSpPr>
        <p:cxnSp>
          <p:nvCxnSpPr>
            <p:cNvPr id="562" name="Shape 562"/>
            <p:cNvCxnSpPr/>
            <p:nvPr/>
          </p:nvCxnSpPr>
          <p:spPr>
            <a:xfrm>
              <a:off x="608893" y="4038598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563" name="Shape 563"/>
            <p:cNvSpPr/>
            <p:nvPr/>
          </p:nvSpPr>
          <p:spPr>
            <a:xfrm>
              <a:off x="507999" y="3556000"/>
              <a:ext cx="230186" cy="304100"/>
            </a:xfrm>
            <a:custGeom>
              <a:avLst/>
              <a:gdLst/>
              <a:ahLst/>
              <a:cxnLst/>
              <a:rect l="0" t="0" r="0" b="0"/>
              <a:pathLst>
                <a:path w="92" h="122" extrusionOk="0">
                  <a:moveTo>
                    <a:pt x="48" y="115"/>
                  </a:moveTo>
                  <a:cubicBezTo>
                    <a:pt x="48" y="110"/>
                    <a:pt x="50" y="105"/>
                    <a:pt x="53" y="101"/>
                  </a:cubicBezTo>
                  <a:cubicBezTo>
                    <a:pt x="56" y="96"/>
                    <a:pt x="61" y="93"/>
                    <a:pt x="66" y="92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86" y="87"/>
                    <a:pt x="81" y="90"/>
                    <a:pt x="79" y="95"/>
                  </a:cubicBezTo>
                  <a:cubicBezTo>
                    <a:pt x="76" y="100"/>
                    <a:pt x="74" y="104"/>
                    <a:pt x="72" y="109"/>
                  </a:cubicBezTo>
                  <a:cubicBezTo>
                    <a:pt x="70" y="113"/>
                    <a:pt x="66" y="117"/>
                    <a:pt x="61" y="119"/>
                  </a:cubicBezTo>
                  <a:cubicBezTo>
                    <a:pt x="57" y="121"/>
                    <a:pt x="53" y="122"/>
                    <a:pt x="50" y="121"/>
                  </a:cubicBezTo>
                  <a:cubicBezTo>
                    <a:pt x="49" y="119"/>
                    <a:pt x="48" y="117"/>
                    <a:pt x="48" y="115"/>
                  </a:cubicBezTo>
                  <a:moveTo>
                    <a:pt x="48" y="94"/>
                  </a:moveTo>
                  <a:cubicBezTo>
                    <a:pt x="48" y="88"/>
                    <a:pt x="50" y="82"/>
                    <a:pt x="53" y="76"/>
                  </a:cubicBezTo>
                  <a:cubicBezTo>
                    <a:pt x="56" y="70"/>
                    <a:pt x="61" y="66"/>
                    <a:pt x="66" y="65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4" y="60"/>
                    <a:pt x="80" y="63"/>
                    <a:pt x="78" y="68"/>
                  </a:cubicBezTo>
                  <a:cubicBezTo>
                    <a:pt x="77" y="72"/>
                    <a:pt x="75" y="76"/>
                    <a:pt x="74" y="81"/>
                  </a:cubicBezTo>
                  <a:cubicBezTo>
                    <a:pt x="72" y="84"/>
                    <a:pt x="68" y="87"/>
                    <a:pt x="61" y="90"/>
                  </a:cubicBezTo>
                  <a:cubicBezTo>
                    <a:pt x="55" y="93"/>
                    <a:pt x="50" y="96"/>
                    <a:pt x="48" y="100"/>
                  </a:cubicBezTo>
                  <a:cubicBezTo>
                    <a:pt x="48" y="98"/>
                    <a:pt x="48" y="96"/>
                    <a:pt x="48" y="94"/>
                  </a:cubicBezTo>
                  <a:moveTo>
                    <a:pt x="39" y="27"/>
                  </a:moveTo>
                  <a:cubicBezTo>
                    <a:pt x="39" y="19"/>
                    <a:pt x="43" y="10"/>
                    <a:pt x="52" y="0"/>
                  </a:cubicBezTo>
                  <a:cubicBezTo>
                    <a:pt x="54" y="6"/>
                    <a:pt x="55" y="11"/>
                    <a:pt x="55" y="17"/>
                  </a:cubicBezTo>
                  <a:cubicBezTo>
                    <a:pt x="55" y="25"/>
                    <a:pt x="52" y="36"/>
                    <a:pt x="46" y="49"/>
                  </a:cubicBezTo>
                  <a:cubicBezTo>
                    <a:pt x="41" y="40"/>
                    <a:pt x="39" y="33"/>
                    <a:pt x="39" y="27"/>
                  </a:cubicBezTo>
                  <a:moveTo>
                    <a:pt x="10" y="28"/>
                  </a:moveTo>
                  <a:cubicBezTo>
                    <a:pt x="31" y="39"/>
                    <a:pt x="31" y="39"/>
                    <a:pt x="31" y="39"/>
                  </a:cubicBezTo>
                  <a:cubicBezTo>
                    <a:pt x="35" y="41"/>
                    <a:pt x="38" y="45"/>
                    <a:pt x="41" y="50"/>
                  </a:cubicBezTo>
                  <a:cubicBezTo>
                    <a:pt x="43" y="55"/>
                    <a:pt x="45" y="61"/>
                    <a:pt x="46" y="67"/>
                  </a:cubicBezTo>
                  <a:cubicBezTo>
                    <a:pt x="47" y="61"/>
                    <a:pt x="49" y="55"/>
                    <a:pt x="51" y="50"/>
                  </a:cubicBezTo>
                  <a:cubicBezTo>
                    <a:pt x="54" y="45"/>
                    <a:pt x="57" y="41"/>
                    <a:pt x="60" y="3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9" y="31"/>
                    <a:pt x="76" y="33"/>
                    <a:pt x="75" y="36"/>
                  </a:cubicBezTo>
                  <a:cubicBezTo>
                    <a:pt x="74" y="37"/>
                    <a:pt x="74" y="40"/>
                    <a:pt x="74" y="44"/>
                  </a:cubicBezTo>
                  <a:cubicBezTo>
                    <a:pt x="73" y="47"/>
                    <a:pt x="72" y="50"/>
                    <a:pt x="71" y="53"/>
                  </a:cubicBezTo>
                  <a:cubicBezTo>
                    <a:pt x="70" y="55"/>
                    <a:pt x="66" y="59"/>
                    <a:pt x="58" y="64"/>
                  </a:cubicBezTo>
                  <a:cubicBezTo>
                    <a:pt x="51" y="70"/>
                    <a:pt x="47" y="74"/>
                    <a:pt x="46" y="77"/>
                  </a:cubicBezTo>
                  <a:cubicBezTo>
                    <a:pt x="45" y="74"/>
                    <a:pt x="41" y="70"/>
                    <a:pt x="34" y="64"/>
                  </a:cubicBezTo>
                  <a:cubicBezTo>
                    <a:pt x="26" y="59"/>
                    <a:pt x="22" y="55"/>
                    <a:pt x="21" y="53"/>
                  </a:cubicBezTo>
                  <a:cubicBezTo>
                    <a:pt x="20" y="50"/>
                    <a:pt x="19" y="47"/>
                    <a:pt x="18" y="44"/>
                  </a:cubicBezTo>
                  <a:cubicBezTo>
                    <a:pt x="18" y="40"/>
                    <a:pt x="17" y="37"/>
                    <a:pt x="17" y="36"/>
                  </a:cubicBezTo>
                  <a:cubicBezTo>
                    <a:pt x="16" y="33"/>
                    <a:pt x="13" y="31"/>
                    <a:pt x="9" y="29"/>
                  </a:cubicBezTo>
                  <a:lnTo>
                    <a:pt x="10" y="28"/>
                  </a:lnTo>
                  <a:close/>
                  <a:moveTo>
                    <a:pt x="3" y="5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31" y="66"/>
                    <a:pt x="36" y="70"/>
                    <a:pt x="39" y="76"/>
                  </a:cubicBezTo>
                  <a:cubicBezTo>
                    <a:pt x="42" y="82"/>
                    <a:pt x="44" y="88"/>
                    <a:pt x="44" y="94"/>
                  </a:cubicBezTo>
                  <a:cubicBezTo>
                    <a:pt x="44" y="96"/>
                    <a:pt x="44" y="98"/>
                    <a:pt x="43" y="100"/>
                  </a:cubicBezTo>
                  <a:cubicBezTo>
                    <a:pt x="42" y="96"/>
                    <a:pt x="37" y="93"/>
                    <a:pt x="30" y="90"/>
                  </a:cubicBezTo>
                  <a:cubicBezTo>
                    <a:pt x="24" y="87"/>
                    <a:pt x="20" y="84"/>
                    <a:pt x="18" y="81"/>
                  </a:cubicBezTo>
                  <a:cubicBezTo>
                    <a:pt x="17" y="76"/>
                    <a:pt x="15" y="72"/>
                    <a:pt x="14" y="68"/>
                  </a:cubicBezTo>
                  <a:cubicBezTo>
                    <a:pt x="12" y="63"/>
                    <a:pt x="8" y="60"/>
                    <a:pt x="3" y="59"/>
                  </a:cubicBezTo>
                  <a:lnTo>
                    <a:pt x="3" y="58"/>
                  </a:lnTo>
                  <a:close/>
                  <a:moveTo>
                    <a:pt x="0" y="84"/>
                  </a:moveTo>
                  <a:cubicBezTo>
                    <a:pt x="26" y="92"/>
                    <a:pt x="26" y="92"/>
                    <a:pt x="26" y="92"/>
                  </a:cubicBezTo>
                  <a:cubicBezTo>
                    <a:pt x="31" y="93"/>
                    <a:pt x="35" y="96"/>
                    <a:pt x="38" y="101"/>
                  </a:cubicBezTo>
                  <a:cubicBezTo>
                    <a:pt x="42" y="105"/>
                    <a:pt x="43" y="110"/>
                    <a:pt x="43" y="115"/>
                  </a:cubicBezTo>
                  <a:cubicBezTo>
                    <a:pt x="43" y="117"/>
                    <a:pt x="43" y="119"/>
                    <a:pt x="42" y="121"/>
                  </a:cubicBezTo>
                  <a:cubicBezTo>
                    <a:pt x="39" y="122"/>
                    <a:pt x="35" y="121"/>
                    <a:pt x="31" y="119"/>
                  </a:cubicBezTo>
                  <a:cubicBezTo>
                    <a:pt x="26" y="117"/>
                    <a:pt x="22" y="113"/>
                    <a:pt x="20" y="109"/>
                  </a:cubicBezTo>
                  <a:cubicBezTo>
                    <a:pt x="18" y="104"/>
                    <a:pt x="15" y="100"/>
                    <a:pt x="13" y="95"/>
                  </a:cubicBezTo>
                  <a:cubicBezTo>
                    <a:pt x="11" y="90"/>
                    <a:pt x="6" y="87"/>
                    <a:pt x="0" y="85"/>
                  </a:cubicBezTo>
                  <a:lnTo>
                    <a:pt x="0" y="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  <p:sp>
          <p:nvSpPr>
            <p:cNvPr id="564" name="Shape 564"/>
            <p:cNvSpPr/>
            <p:nvPr/>
          </p:nvSpPr>
          <p:spPr>
            <a:xfrm>
              <a:off x="613589" y="3857989"/>
              <a:ext cx="16799" cy="1847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</p:grpSp>
      <p:sp>
        <p:nvSpPr>
          <p:cNvPr id="565" name="Shape 565"/>
          <p:cNvSpPr txBox="1">
            <a:spLocks noGrp="1"/>
          </p:cNvSpPr>
          <p:nvPr>
            <p:ph type="title"/>
          </p:nvPr>
        </p:nvSpPr>
        <p:spPr>
          <a:xfrm>
            <a:off x="457200" y="514350"/>
            <a:ext cx="8229600" cy="476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lvl="0" rtl="0">
              <a:buClr>
                <a:srgbClr val="000000"/>
              </a:buClr>
              <a:buSzPct val="25000"/>
              <a:buFont typeface="Arial"/>
              <a:buNone/>
            </a:pPr>
            <a:r>
              <a:rPr lang="en">
                <a:solidFill>
                  <a:srgbClr val="666666"/>
                </a:solidFill>
              </a:rPr>
              <a:t>Contents</a:t>
            </a:r>
          </a:p>
        </p:txBody>
      </p:sp>
      <p:sp>
        <p:nvSpPr>
          <p:cNvPr id="38" name="Shape 535"/>
          <p:cNvSpPr/>
          <p:nvPr/>
        </p:nvSpPr>
        <p:spPr>
          <a:xfrm>
            <a:off x="772641" y="1520000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Who is KENET?</a:t>
            </a:r>
            <a:endParaRPr dirty="0"/>
          </a:p>
        </p:txBody>
      </p:sp>
      <p:sp>
        <p:nvSpPr>
          <p:cNvPr id="39" name="Shape 535"/>
          <p:cNvSpPr/>
          <p:nvPr/>
        </p:nvSpPr>
        <p:spPr>
          <a:xfrm>
            <a:off x="802136" y="3188725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Regional Partnership</a:t>
            </a:r>
            <a:endParaRPr lang="en-US" dirty="0"/>
          </a:p>
        </p:txBody>
      </p:sp>
      <p:sp>
        <p:nvSpPr>
          <p:cNvPr id="40" name="Shape 535"/>
          <p:cNvSpPr/>
          <p:nvPr/>
        </p:nvSpPr>
        <p:spPr>
          <a:xfrm>
            <a:off x="772639" y="3773985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International Collaboration and Partnerships</a:t>
            </a:r>
            <a:endParaRPr lang="en-US" dirty="0"/>
          </a:p>
        </p:txBody>
      </p:sp>
      <p:sp>
        <p:nvSpPr>
          <p:cNvPr id="41" name="Shape 535"/>
          <p:cNvSpPr/>
          <p:nvPr/>
        </p:nvSpPr>
        <p:spPr>
          <a:xfrm>
            <a:off x="782486" y="4365593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Future Possibilities </a:t>
            </a:r>
            <a:endParaRPr lang="en-US" dirty="0"/>
          </a:p>
        </p:txBody>
      </p:sp>
      <p:grpSp>
        <p:nvGrpSpPr>
          <p:cNvPr id="42" name="Shape 561"/>
          <p:cNvGrpSpPr/>
          <p:nvPr/>
        </p:nvGrpSpPr>
        <p:grpSpPr>
          <a:xfrm>
            <a:off x="527690" y="4899082"/>
            <a:ext cx="8103395" cy="486789"/>
            <a:chOff x="507999" y="3556000"/>
            <a:chExt cx="8103395" cy="486789"/>
          </a:xfrm>
        </p:grpSpPr>
        <p:cxnSp>
          <p:nvCxnSpPr>
            <p:cNvPr id="43" name="Shape 562"/>
            <p:cNvCxnSpPr/>
            <p:nvPr/>
          </p:nvCxnSpPr>
          <p:spPr>
            <a:xfrm>
              <a:off x="608893" y="4038598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44" name="Shape 563"/>
            <p:cNvSpPr/>
            <p:nvPr/>
          </p:nvSpPr>
          <p:spPr>
            <a:xfrm>
              <a:off x="507999" y="3556000"/>
              <a:ext cx="230186" cy="304100"/>
            </a:xfrm>
            <a:custGeom>
              <a:avLst/>
              <a:gdLst/>
              <a:ahLst/>
              <a:cxnLst/>
              <a:rect l="0" t="0" r="0" b="0"/>
              <a:pathLst>
                <a:path w="92" h="122" extrusionOk="0">
                  <a:moveTo>
                    <a:pt x="48" y="115"/>
                  </a:moveTo>
                  <a:cubicBezTo>
                    <a:pt x="48" y="110"/>
                    <a:pt x="50" y="105"/>
                    <a:pt x="53" y="101"/>
                  </a:cubicBezTo>
                  <a:cubicBezTo>
                    <a:pt x="56" y="96"/>
                    <a:pt x="61" y="93"/>
                    <a:pt x="66" y="92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86" y="87"/>
                    <a:pt x="81" y="90"/>
                    <a:pt x="79" y="95"/>
                  </a:cubicBezTo>
                  <a:cubicBezTo>
                    <a:pt x="76" y="100"/>
                    <a:pt x="74" y="104"/>
                    <a:pt x="72" y="109"/>
                  </a:cubicBezTo>
                  <a:cubicBezTo>
                    <a:pt x="70" y="113"/>
                    <a:pt x="66" y="117"/>
                    <a:pt x="61" y="119"/>
                  </a:cubicBezTo>
                  <a:cubicBezTo>
                    <a:pt x="57" y="121"/>
                    <a:pt x="53" y="122"/>
                    <a:pt x="50" y="121"/>
                  </a:cubicBezTo>
                  <a:cubicBezTo>
                    <a:pt x="49" y="119"/>
                    <a:pt x="48" y="117"/>
                    <a:pt x="48" y="115"/>
                  </a:cubicBezTo>
                  <a:moveTo>
                    <a:pt x="48" y="94"/>
                  </a:moveTo>
                  <a:cubicBezTo>
                    <a:pt x="48" y="88"/>
                    <a:pt x="50" y="82"/>
                    <a:pt x="53" y="76"/>
                  </a:cubicBezTo>
                  <a:cubicBezTo>
                    <a:pt x="56" y="70"/>
                    <a:pt x="61" y="66"/>
                    <a:pt x="66" y="65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4" y="60"/>
                    <a:pt x="80" y="63"/>
                    <a:pt x="78" y="68"/>
                  </a:cubicBezTo>
                  <a:cubicBezTo>
                    <a:pt x="77" y="72"/>
                    <a:pt x="75" y="76"/>
                    <a:pt x="74" y="81"/>
                  </a:cubicBezTo>
                  <a:cubicBezTo>
                    <a:pt x="72" y="84"/>
                    <a:pt x="68" y="87"/>
                    <a:pt x="61" y="90"/>
                  </a:cubicBezTo>
                  <a:cubicBezTo>
                    <a:pt x="55" y="93"/>
                    <a:pt x="50" y="96"/>
                    <a:pt x="48" y="100"/>
                  </a:cubicBezTo>
                  <a:cubicBezTo>
                    <a:pt x="48" y="98"/>
                    <a:pt x="48" y="96"/>
                    <a:pt x="48" y="94"/>
                  </a:cubicBezTo>
                  <a:moveTo>
                    <a:pt x="39" y="27"/>
                  </a:moveTo>
                  <a:cubicBezTo>
                    <a:pt x="39" y="19"/>
                    <a:pt x="43" y="10"/>
                    <a:pt x="52" y="0"/>
                  </a:cubicBezTo>
                  <a:cubicBezTo>
                    <a:pt x="54" y="6"/>
                    <a:pt x="55" y="11"/>
                    <a:pt x="55" y="17"/>
                  </a:cubicBezTo>
                  <a:cubicBezTo>
                    <a:pt x="55" y="25"/>
                    <a:pt x="52" y="36"/>
                    <a:pt x="46" y="49"/>
                  </a:cubicBezTo>
                  <a:cubicBezTo>
                    <a:pt x="41" y="40"/>
                    <a:pt x="39" y="33"/>
                    <a:pt x="39" y="27"/>
                  </a:cubicBezTo>
                  <a:moveTo>
                    <a:pt x="10" y="28"/>
                  </a:moveTo>
                  <a:cubicBezTo>
                    <a:pt x="31" y="39"/>
                    <a:pt x="31" y="39"/>
                    <a:pt x="31" y="39"/>
                  </a:cubicBezTo>
                  <a:cubicBezTo>
                    <a:pt x="35" y="41"/>
                    <a:pt x="38" y="45"/>
                    <a:pt x="41" y="50"/>
                  </a:cubicBezTo>
                  <a:cubicBezTo>
                    <a:pt x="43" y="55"/>
                    <a:pt x="45" y="61"/>
                    <a:pt x="46" y="67"/>
                  </a:cubicBezTo>
                  <a:cubicBezTo>
                    <a:pt x="47" y="61"/>
                    <a:pt x="49" y="55"/>
                    <a:pt x="51" y="50"/>
                  </a:cubicBezTo>
                  <a:cubicBezTo>
                    <a:pt x="54" y="45"/>
                    <a:pt x="57" y="41"/>
                    <a:pt x="60" y="3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9" y="31"/>
                    <a:pt x="76" y="33"/>
                    <a:pt x="75" y="36"/>
                  </a:cubicBezTo>
                  <a:cubicBezTo>
                    <a:pt x="74" y="37"/>
                    <a:pt x="74" y="40"/>
                    <a:pt x="74" y="44"/>
                  </a:cubicBezTo>
                  <a:cubicBezTo>
                    <a:pt x="73" y="47"/>
                    <a:pt x="72" y="50"/>
                    <a:pt x="71" y="53"/>
                  </a:cubicBezTo>
                  <a:cubicBezTo>
                    <a:pt x="70" y="55"/>
                    <a:pt x="66" y="59"/>
                    <a:pt x="58" y="64"/>
                  </a:cubicBezTo>
                  <a:cubicBezTo>
                    <a:pt x="51" y="70"/>
                    <a:pt x="47" y="74"/>
                    <a:pt x="46" y="77"/>
                  </a:cubicBezTo>
                  <a:cubicBezTo>
                    <a:pt x="45" y="74"/>
                    <a:pt x="41" y="70"/>
                    <a:pt x="34" y="64"/>
                  </a:cubicBezTo>
                  <a:cubicBezTo>
                    <a:pt x="26" y="59"/>
                    <a:pt x="22" y="55"/>
                    <a:pt x="21" y="53"/>
                  </a:cubicBezTo>
                  <a:cubicBezTo>
                    <a:pt x="20" y="50"/>
                    <a:pt x="19" y="47"/>
                    <a:pt x="18" y="44"/>
                  </a:cubicBezTo>
                  <a:cubicBezTo>
                    <a:pt x="18" y="40"/>
                    <a:pt x="17" y="37"/>
                    <a:pt x="17" y="36"/>
                  </a:cubicBezTo>
                  <a:cubicBezTo>
                    <a:pt x="16" y="33"/>
                    <a:pt x="13" y="31"/>
                    <a:pt x="9" y="29"/>
                  </a:cubicBezTo>
                  <a:lnTo>
                    <a:pt x="10" y="28"/>
                  </a:lnTo>
                  <a:close/>
                  <a:moveTo>
                    <a:pt x="3" y="5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31" y="66"/>
                    <a:pt x="36" y="70"/>
                    <a:pt x="39" y="76"/>
                  </a:cubicBezTo>
                  <a:cubicBezTo>
                    <a:pt x="42" y="82"/>
                    <a:pt x="44" y="88"/>
                    <a:pt x="44" y="94"/>
                  </a:cubicBezTo>
                  <a:cubicBezTo>
                    <a:pt x="44" y="96"/>
                    <a:pt x="44" y="98"/>
                    <a:pt x="43" y="100"/>
                  </a:cubicBezTo>
                  <a:cubicBezTo>
                    <a:pt x="42" y="96"/>
                    <a:pt x="37" y="93"/>
                    <a:pt x="30" y="90"/>
                  </a:cubicBezTo>
                  <a:cubicBezTo>
                    <a:pt x="24" y="87"/>
                    <a:pt x="20" y="84"/>
                    <a:pt x="18" y="81"/>
                  </a:cubicBezTo>
                  <a:cubicBezTo>
                    <a:pt x="17" y="76"/>
                    <a:pt x="15" y="72"/>
                    <a:pt x="14" y="68"/>
                  </a:cubicBezTo>
                  <a:cubicBezTo>
                    <a:pt x="12" y="63"/>
                    <a:pt x="8" y="60"/>
                    <a:pt x="3" y="59"/>
                  </a:cubicBezTo>
                  <a:lnTo>
                    <a:pt x="3" y="58"/>
                  </a:lnTo>
                  <a:close/>
                  <a:moveTo>
                    <a:pt x="0" y="84"/>
                  </a:moveTo>
                  <a:cubicBezTo>
                    <a:pt x="26" y="92"/>
                    <a:pt x="26" y="92"/>
                    <a:pt x="26" y="92"/>
                  </a:cubicBezTo>
                  <a:cubicBezTo>
                    <a:pt x="31" y="93"/>
                    <a:pt x="35" y="96"/>
                    <a:pt x="38" y="101"/>
                  </a:cubicBezTo>
                  <a:cubicBezTo>
                    <a:pt x="42" y="105"/>
                    <a:pt x="43" y="110"/>
                    <a:pt x="43" y="115"/>
                  </a:cubicBezTo>
                  <a:cubicBezTo>
                    <a:pt x="43" y="117"/>
                    <a:pt x="43" y="119"/>
                    <a:pt x="42" y="121"/>
                  </a:cubicBezTo>
                  <a:cubicBezTo>
                    <a:pt x="39" y="122"/>
                    <a:pt x="35" y="121"/>
                    <a:pt x="31" y="119"/>
                  </a:cubicBezTo>
                  <a:cubicBezTo>
                    <a:pt x="26" y="117"/>
                    <a:pt x="22" y="113"/>
                    <a:pt x="20" y="109"/>
                  </a:cubicBezTo>
                  <a:cubicBezTo>
                    <a:pt x="18" y="104"/>
                    <a:pt x="15" y="100"/>
                    <a:pt x="13" y="95"/>
                  </a:cubicBezTo>
                  <a:cubicBezTo>
                    <a:pt x="11" y="90"/>
                    <a:pt x="6" y="87"/>
                    <a:pt x="0" y="85"/>
                  </a:cubicBezTo>
                  <a:lnTo>
                    <a:pt x="0" y="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  <p:sp>
          <p:nvSpPr>
            <p:cNvPr id="45" name="Shape 564"/>
            <p:cNvSpPr/>
            <p:nvPr/>
          </p:nvSpPr>
          <p:spPr>
            <a:xfrm>
              <a:off x="613589" y="3857989"/>
              <a:ext cx="16799" cy="1847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</p:grpSp>
      <p:sp>
        <p:nvSpPr>
          <p:cNvPr id="46" name="Shape 535"/>
          <p:cNvSpPr/>
          <p:nvPr/>
        </p:nvSpPr>
        <p:spPr>
          <a:xfrm>
            <a:off x="784944" y="5049314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Q &amp; A</a:t>
            </a:r>
            <a:endParaRPr lang="en-US" dirty="0"/>
          </a:p>
        </p:txBody>
      </p:sp>
      <p:grpSp>
        <p:nvGrpSpPr>
          <p:cNvPr id="47" name="Shape 561"/>
          <p:cNvGrpSpPr/>
          <p:nvPr/>
        </p:nvGrpSpPr>
        <p:grpSpPr>
          <a:xfrm>
            <a:off x="520440" y="2489012"/>
            <a:ext cx="8103395" cy="486789"/>
            <a:chOff x="507999" y="3556000"/>
            <a:chExt cx="8103395" cy="486789"/>
          </a:xfrm>
        </p:grpSpPr>
        <p:cxnSp>
          <p:nvCxnSpPr>
            <p:cNvPr id="48" name="Shape 562"/>
            <p:cNvCxnSpPr/>
            <p:nvPr/>
          </p:nvCxnSpPr>
          <p:spPr>
            <a:xfrm>
              <a:off x="608893" y="4038598"/>
              <a:ext cx="8002500" cy="0"/>
            </a:xfrm>
            <a:prstGeom prst="straightConnector1">
              <a:avLst/>
            </a:prstGeom>
            <a:noFill/>
            <a:ln w="9525" cap="flat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49" name="Shape 563"/>
            <p:cNvSpPr/>
            <p:nvPr/>
          </p:nvSpPr>
          <p:spPr>
            <a:xfrm>
              <a:off x="507999" y="3556000"/>
              <a:ext cx="230186" cy="304100"/>
            </a:xfrm>
            <a:custGeom>
              <a:avLst/>
              <a:gdLst/>
              <a:ahLst/>
              <a:cxnLst/>
              <a:rect l="0" t="0" r="0" b="0"/>
              <a:pathLst>
                <a:path w="92" h="122" extrusionOk="0">
                  <a:moveTo>
                    <a:pt x="48" y="115"/>
                  </a:moveTo>
                  <a:cubicBezTo>
                    <a:pt x="48" y="110"/>
                    <a:pt x="50" y="105"/>
                    <a:pt x="53" y="101"/>
                  </a:cubicBezTo>
                  <a:cubicBezTo>
                    <a:pt x="56" y="96"/>
                    <a:pt x="61" y="93"/>
                    <a:pt x="66" y="92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86" y="87"/>
                    <a:pt x="81" y="90"/>
                    <a:pt x="79" y="95"/>
                  </a:cubicBezTo>
                  <a:cubicBezTo>
                    <a:pt x="76" y="100"/>
                    <a:pt x="74" y="104"/>
                    <a:pt x="72" y="109"/>
                  </a:cubicBezTo>
                  <a:cubicBezTo>
                    <a:pt x="70" y="113"/>
                    <a:pt x="66" y="117"/>
                    <a:pt x="61" y="119"/>
                  </a:cubicBezTo>
                  <a:cubicBezTo>
                    <a:pt x="57" y="121"/>
                    <a:pt x="53" y="122"/>
                    <a:pt x="50" y="121"/>
                  </a:cubicBezTo>
                  <a:cubicBezTo>
                    <a:pt x="49" y="119"/>
                    <a:pt x="48" y="117"/>
                    <a:pt x="48" y="115"/>
                  </a:cubicBezTo>
                  <a:moveTo>
                    <a:pt x="48" y="94"/>
                  </a:moveTo>
                  <a:cubicBezTo>
                    <a:pt x="48" y="88"/>
                    <a:pt x="50" y="82"/>
                    <a:pt x="53" y="76"/>
                  </a:cubicBezTo>
                  <a:cubicBezTo>
                    <a:pt x="56" y="70"/>
                    <a:pt x="61" y="66"/>
                    <a:pt x="66" y="65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4" y="60"/>
                    <a:pt x="80" y="63"/>
                    <a:pt x="78" y="68"/>
                  </a:cubicBezTo>
                  <a:cubicBezTo>
                    <a:pt x="77" y="72"/>
                    <a:pt x="75" y="76"/>
                    <a:pt x="74" y="81"/>
                  </a:cubicBezTo>
                  <a:cubicBezTo>
                    <a:pt x="72" y="84"/>
                    <a:pt x="68" y="87"/>
                    <a:pt x="61" y="90"/>
                  </a:cubicBezTo>
                  <a:cubicBezTo>
                    <a:pt x="55" y="93"/>
                    <a:pt x="50" y="96"/>
                    <a:pt x="48" y="100"/>
                  </a:cubicBezTo>
                  <a:cubicBezTo>
                    <a:pt x="48" y="98"/>
                    <a:pt x="48" y="96"/>
                    <a:pt x="48" y="94"/>
                  </a:cubicBezTo>
                  <a:moveTo>
                    <a:pt x="39" y="27"/>
                  </a:moveTo>
                  <a:cubicBezTo>
                    <a:pt x="39" y="19"/>
                    <a:pt x="43" y="10"/>
                    <a:pt x="52" y="0"/>
                  </a:cubicBezTo>
                  <a:cubicBezTo>
                    <a:pt x="54" y="6"/>
                    <a:pt x="55" y="11"/>
                    <a:pt x="55" y="17"/>
                  </a:cubicBezTo>
                  <a:cubicBezTo>
                    <a:pt x="55" y="25"/>
                    <a:pt x="52" y="36"/>
                    <a:pt x="46" y="49"/>
                  </a:cubicBezTo>
                  <a:cubicBezTo>
                    <a:pt x="41" y="40"/>
                    <a:pt x="39" y="33"/>
                    <a:pt x="39" y="27"/>
                  </a:cubicBezTo>
                  <a:moveTo>
                    <a:pt x="10" y="28"/>
                  </a:moveTo>
                  <a:cubicBezTo>
                    <a:pt x="31" y="39"/>
                    <a:pt x="31" y="39"/>
                    <a:pt x="31" y="39"/>
                  </a:cubicBezTo>
                  <a:cubicBezTo>
                    <a:pt x="35" y="41"/>
                    <a:pt x="38" y="45"/>
                    <a:pt x="41" y="50"/>
                  </a:cubicBezTo>
                  <a:cubicBezTo>
                    <a:pt x="43" y="55"/>
                    <a:pt x="45" y="61"/>
                    <a:pt x="46" y="67"/>
                  </a:cubicBezTo>
                  <a:cubicBezTo>
                    <a:pt x="47" y="61"/>
                    <a:pt x="49" y="55"/>
                    <a:pt x="51" y="50"/>
                  </a:cubicBezTo>
                  <a:cubicBezTo>
                    <a:pt x="54" y="45"/>
                    <a:pt x="57" y="41"/>
                    <a:pt x="60" y="3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9" y="31"/>
                    <a:pt x="76" y="33"/>
                    <a:pt x="75" y="36"/>
                  </a:cubicBezTo>
                  <a:cubicBezTo>
                    <a:pt x="74" y="37"/>
                    <a:pt x="74" y="40"/>
                    <a:pt x="74" y="44"/>
                  </a:cubicBezTo>
                  <a:cubicBezTo>
                    <a:pt x="73" y="47"/>
                    <a:pt x="72" y="50"/>
                    <a:pt x="71" y="53"/>
                  </a:cubicBezTo>
                  <a:cubicBezTo>
                    <a:pt x="70" y="55"/>
                    <a:pt x="66" y="59"/>
                    <a:pt x="58" y="64"/>
                  </a:cubicBezTo>
                  <a:cubicBezTo>
                    <a:pt x="51" y="70"/>
                    <a:pt x="47" y="74"/>
                    <a:pt x="46" y="77"/>
                  </a:cubicBezTo>
                  <a:cubicBezTo>
                    <a:pt x="45" y="74"/>
                    <a:pt x="41" y="70"/>
                    <a:pt x="34" y="64"/>
                  </a:cubicBezTo>
                  <a:cubicBezTo>
                    <a:pt x="26" y="59"/>
                    <a:pt x="22" y="55"/>
                    <a:pt x="21" y="53"/>
                  </a:cubicBezTo>
                  <a:cubicBezTo>
                    <a:pt x="20" y="50"/>
                    <a:pt x="19" y="47"/>
                    <a:pt x="18" y="44"/>
                  </a:cubicBezTo>
                  <a:cubicBezTo>
                    <a:pt x="18" y="40"/>
                    <a:pt x="17" y="37"/>
                    <a:pt x="17" y="36"/>
                  </a:cubicBezTo>
                  <a:cubicBezTo>
                    <a:pt x="16" y="33"/>
                    <a:pt x="13" y="31"/>
                    <a:pt x="9" y="29"/>
                  </a:cubicBezTo>
                  <a:lnTo>
                    <a:pt x="10" y="28"/>
                  </a:lnTo>
                  <a:close/>
                  <a:moveTo>
                    <a:pt x="3" y="5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31" y="66"/>
                    <a:pt x="36" y="70"/>
                    <a:pt x="39" y="76"/>
                  </a:cubicBezTo>
                  <a:cubicBezTo>
                    <a:pt x="42" y="82"/>
                    <a:pt x="44" y="88"/>
                    <a:pt x="44" y="94"/>
                  </a:cubicBezTo>
                  <a:cubicBezTo>
                    <a:pt x="44" y="96"/>
                    <a:pt x="44" y="98"/>
                    <a:pt x="43" y="100"/>
                  </a:cubicBezTo>
                  <a:cubicBezTo>
                    <a:pt x="42" y="96"/>
                    <a:pt x="37" y="93"/>
                    <a:pt x="30" y="90"/>
                  </a:cubicBezTo>
                  <a:cubicBezTo>
                    <a:pt x="24" y="87"/>
                    <a:pt x="20" y="84"/>
                    <a:pt x="18" y="81"/>
                  </a:cubicBezTo>
                  <a:cubicBezTo>
                    <a:pt x="17" y="76"/>
                    <a:pt x="15" y="72"/>
                    <a:pt x="14" y="68"/>
                  </a:cubicBezTo>
                  <a:cubicBezTo>
                    <a:pt x="12" y="63"/>
                    <a:pt x="8" y="60"/>
                    <a:pt x="3" y="59"/>
                  </a:cubicBezTo>
                  <a:lnTo>
                    <a:pt x="3" y="58"/>
                  </a:lnTo>
                  <a:close/>
                  <a:moveTo>
                    <a:pt x="0" y="84"/>
                  </a:moveTo>
                  <a:cubicBezTo>
                    <a:pt x="26" y="92"/>
                    <a:pt x="26" y="92"/>
                    <a:pt x="26" y="92"/>
                  </a:cubicBezTo>
                  <a:cubicBezTo>
                    <a:pt x="31" y="93"/>
                    <a:pt x="35" y="96"/>
                    <a:pt x="38" y="101"/>
                  </a:cubicBezTo>
                  <a:cubicBezTo>
                    <a:pt x="42" y="105"/>
                    <a:pt x="43" y="110"/>
                    <a:pt x="43" y="115"/>
                  </a:cubicBezTo>
                  <a:cubicBezTo>
                    <a:pt x="43" y="117"/>
                    <a:pt x="43" y="119"/>
                    <a:pt x="42" y="121"/>
                  </a:cubicBezTo>
                  <a:cubicBezTo>
                    <a:pt x="39" y="122"/>
                    <a:pt x="35" y="121"/>
                    <a:pt x="31" y="119"/>
                  </a:cubicBezTo>
                  <a:cubicBezTo>
                    <a:pt x="26" y="117"/>
                    <a:pt x="22" y="113"/>
                    <a:pt x="20" y="109"/>
                  </a:cubicBezTo>
                  <a:cubicBezTo>
                    <a:pt x="18" y="104"/>
                    <a:pt x="15" y="100"/>
                    <a:pt x="13" y="95"/>
                  </a:cubicBezTo>
                  <a:cubicBezTo>
                    <a:pt x="11" y="90"/>
                    <a:pt x="6" y="87"/>
                    <a:pt x="0" y="85"/>
                  </a:cubicBezTo>
                  <a:lnTo>
                    <a:pt x="0" y="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  <p:sp>
          <p:nvSpPr>
            <p:cNvPr id="50" name="Shape 564"/>
            <p:cNvSpPr/>
            <p:nvPr/>
          </p:nvSpPr>
          <p:spPr>
            <a:xfrm>
              <a:off x="613589" y="3857989"/>
              <a:ext cx="16799" cy="1847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1425" tIns="45700" rIns="91425" bIns="45700" anchor="t" anchorCtr="0">
              <a:spAutoFit/>
            </a:bodyPr>
            <a:lstStyle/>
            <a:p>
              <a:endParaRPr dirty="0"/>
            </a:p>
          </p:txBody>
        </p:sp>
      </p:grpSp>
      <p:sp>
        <p:nvSpPr>
          <p:cNvPr id="51" name="Shape 535"/>
          <p:cNvSpPr/>
          <p:nvPr/>
        </p:nvSpPr>
        <p:spPr>
          <a:xfrm>
            <a:off x="777694" y="2639244"/>
            <a:ext cx="7848599" cy="3077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spAutoFit/>
          </a:bodyPr>
          <a:lstStyle/>
          <a:p>
            <a:r>
              <a:rPr lang="en-US" dirty="0" smtClean="0"/>
              <a:t>Current Status</a:t>
            </a:r>
            <a:endParaRPr lang="en-US" dirty="0"/>
          </a:p>
        </p:txBody>
      </p:sp>
      <p:pic>
        <p:nvPicPr>
          <p:cNvPr id="52" name="Picture 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8975" y="6129337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Shape 574"/>
          <p:cNvSpPr txBox="1">
            <a:spLocks noGrp="1"/>
          </p:cNvSpPr>
          <p:nvPr>
            <p:ph type="title"/>
          </p:nvPr>
        </p:nvSpPr>
        <p:spPr>
          <a:xfrm>
            <a:off x="429646" y="463646"/>
            <a:ext cx="6267600" cy="677078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pPr lvl="0"/>
            <a:r>
              <a:rPr lang="en-US" sz="3200" dirty="0" smtClean="0"/>
              <a:t>KENET Background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00034" y="1428736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 fontScale="92500"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2800" dirty="0" smtClean="0"/>
              <a:t>Founded in 1999 and is licensed as a private networks operator since 2002 (</a:t>
            </a:r>
            <a:r>
              <a:rPr lang="en-GB" sz="2800" dirty="0" smtClean="0">
                <a:hlinkClick r:id="rId3"/>
              </a:rPr>
              <a:t>www.kenet.or.ke</a:t>
            </a:r>
            <a:r>
              <a:rPr lang="en-GB" sz="2800" dirty="0" smtClean="0"/>
              <a:t>) </a:t>
            </a:r>
          </a:p>
          <a:p>
            <a:pPr lvl="1"/>
            <a:r>
              <a:rPr lang="en-GB" dirty="0" smtClean="0"/>
              <a:t>Alternative Network Facilities Network Operator</a:t>
            </a:r>
          </a:p>
          <a:p>
            <a:r>
              <a:rPr lang="en-GB" sz="2800" dirty="0" smtClean="0"/>
              <a:t>KENET recognized by ICANN and </a:t>
            </a:r>
            <a:r>
              <a:rPr lang="en-GB" sz="2800" dirty="0" err="1" smtClean="0"/>
              <a:t>AfriNIC</a:t>
            </a:r>
            <a:r>
              <a:rPr lang="en-GB" sz="2800" dirty="0" smtClean="0"/>
              <a:t> as an NREN and allocated AS# and IP block (v4 and v6 on behalf of education community of Kenya)</a:t>
            </a:r>
          </a:p>
          <a:p>
            <a:r>
              <a:rPr lang="en-GB" dirty="0" smtClean="0"/>
              <a:t>KENET governed by a Trust Deed with following objects:</a:t>
            </a:r>
          </a:p>
          <a:p>
            <a:pPr lvl="1"/>
            <a:r>
              <a:rPr lang="en-GB" sz="2000" dirty="0" smtClean="0"/>
              <a:t>Cost-effective bandwidth, Sharing of resources for learning and research, Promote collaboration in higher education</a:t>
            </a:r>
          </a:p>
          <a:p>
            <a:pPr lvl="1"/>
            <a:r>
              <a:rPr lang="en-GB" sz="2000" dirty="0" smtClean="0"/>
              <a:t>Board of Trustees</a:t>
            </a:r>
          </a:p>
          <a:p>
            <a:r>
              <a:rPr lang="en-GB" dirty="0" smtClean="0"/>
              <a:t>Membership organization (closed network for members only)</a:t>
            </a:r>
          </a:p>
        </p:txBody>
      </p:sp>
      <p:pic>
        <p:nvPicPr>
          <p:cNvPr id="12" name="Picture 1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43768" y="6129337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" name="Shape 595"/>
          <p:cNvSpPr txBox="1">
            <a:spLocks noGrp="1"/>
          </p:cNvSpPr>
          <p:nvPr>
            <p:ph type="title"/>
          </p:nvPr>
        </p:nvSpPr>
        <p:spPr>
          <a:xfrm>
            <a:off x="429646" y="463646"/>
            <a:ext cx="7443302" cy="677078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GB" sz="3200" dirty="0" smtClean="0"/>
              <a:t>Governance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/>
              <a:t>Board of Trustees</a:t>
            </a:r>
          </a:p>
          <a:p>
            <a:pPr lvl="1"/>
            <a:r>
              <a:rPr lang="en-US" sz="1700" dirty="0"/>
              <a:t>Five (5) Vice Chancellors of founding </a:t>
            </a:r>
            <a:r>
              <a:rPr lang="en-US" sz="1700" dirty="0" smtClean="0"/>
              <a:t>universities</a:t>
            </a:r>
          </a:p>
          <a:p>
            <a:pPr lvl="1"/>
            <a:r>
              <a:rPr lang="en-US" sz="1700" dirty="0" smtClean="0"/>
              <a:t>Three (3) representative of Government, Industry Regulator and Research Institutes.</a:t>
            </a:r>
            <a:endParaRPr lang="en-US" sz="1700" dirty="0"/>
          </a:p>
          <a:p>
            <a:r>
              <a:rPr lang="en-US" b="1" dirty="0"/>
              <a:t>Management </a:t>
            </a:r>
            <a:r>
              <a:rPr lang="en-US" b="1" dirty="0" smtClean="0"/>
              <a:t>Board</a:t>
            </a:r>
          </a:p>
          <a:p>
            <a:pPr lvl="1"/>
            <a:r>
              <a:rPr lang="en-US" sz="1700" dirty="0"/>
              <a:t>Five representative of the founding universities</a:t>
            </a:r>
          </a:p>
          <a:p>
            <a:pPr lvl="1"/>
            <a:r>
              <a:rPr lang="en-US" sz="1700" dirty="0"/>
              <a:t>Three representatives of senior faculty, private (rural) universities and Research Institutes.</a:t>
            </a:r>
          </a:p>
          <a:p>
            <a:r>
              <a:rPr lang="en-US" b="1" dirty="0" smtClean="0"/>
              <a:t>Secretariat</a:t>
            </a:r>
          </a:p>
          <a:p>
            <a:pPr lvl="1"/>
            <a:r>
              <a:rPr lang="en-GB" sz="1700" dirty="0" smtClean="0"/>
              <a:t>Executive Director</a:t>
            </a:r>
          </a:p>
          <a:p>
            <a:pPr lvl="1"/>
            <a:r>
              <a:rPr lang="en-GB" sz="1700" dirty="0" smtClean="0"/>
              <a:t>16 techies – Electrical Engineering and Computer Science</a:t>
            </a:r>
          </a:p>
          <a:p>
            <a:pPr lvl="1"/>
            <a:r>
              <a:rPr lang="en-GB" sz="1700" dirty="0" smtClean="0"/>
              <a:t>Three (3) finance </a:t>
            </a:r>
          </a:p>
          <a:p>
            <a:pPr lvl="1"/>
            <a:r>
              <a:rPr lang="en-GB" sz="1700" dirty="0" smtClean="0"/>
              <a:t>Four (4) Graduate Trainees</a:t>
            </a:r>
            <a:endParaRPr lang="en-GB" sz="1700" dirty="0"/>
          </a:p>
          <a:p>
            <a:endParaRPr lang="en-GB" dirty="0"/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2330" y="5786454"/>
            <a:ext cx="1675025" cy="7286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05798883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Shape 593"/>
          <p:cNvSpPr/>
          <p:nvPr/>
        </p:nvSpPr>
        <p:spPr>
          <a:xfrm>
            <a:off x="7192852" y="517325"/>
            <a:ext cx="1596599" cy="623400"/>
          </a:xfrm>
          <a:prstGeom prst="rect">
            <a:avLst/>
          </a:prstGeom>
          <a:solidFill>
            <a:srgbClr val="FFFFFF"/>
          </a:solidFill>
          <a:ln w="1905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spAutoFit/>
          </a:bodyPr>
          <a:lstStyle/>
          <a:p>
            <a:endParaRPr dirty="0"/>
          </a:p>
        </p:txBody>
      </p:sp>
      <p:sp>
        <p:nvSpPr>
          <p:cNvPr id="595" name="Shape 595"/>
          <p:cNvSpPr txBox="1">
            <a:spLocks noGrp="1"/>
          </p:cNvSpPr>
          <p:nvPr>
            <p:ph type="title"/>
          </p:nvPr>
        </p:nvSpPr>
        <p:spPr>
          <a:xfrm>
            <a:off x="429646" y="463646"/>
            <a:ext cx="7443302" cy="677078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GB" sz="3200" dirty="0"/>
              <a:t>KENET </a:t>
            </a:r>
            <a:r>
              <a:rPr lang="en-GB" sz="3200" dirty="0" smtClean="0"/>
              <a:t>Member </a:t>
            </a:r>
            <a:r>
              <a:rPr lang="en-GB" sz="3200" dirty="0"/>
              <a:t>C</a:t>
            </a:r>
            <a:r>
              <a:rPr lang="en-GB" sz="3200" dirty="0" smtClean="0"/>
              <a:t>ategories </a:t>
            </a:r>
            <a:r>
              <a:rPr lang="en-GB" sz="3200" dirty="0"/>
              <a:t>- </a:t>
            </a:r>
            <a:r>
              <a:rPr lang="en-GB" sz="3200" dirty="0" smtClean="0"/>
              <a:t>78</a:t>
            </a:r>
            <a:endParaRPr lang="en" sz="3000" dirty="0">
              <a:solidFill>
                <a:srgbClr val="666666"/>
              </a:solidFill>
            </a:endParaRPr>
          </a:p>
        </p:txBody>
      </p:sp>
      <p:graphicFrame>
        <p:nvGraphicFramePr>
          <p:cNvPr id="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70464226"/>
              </p:ext>
            </p:extLst>
          </p:nvPr>
        </p:nvGraphicFramePr>
        <p:xfrm>
          <a:off x="285721" y="1285861"/>
          <a:ext cx="8643997" cy="5286411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857932"/>
                <a:gridCol w="1490350"/>
                <a:gridCol w="4295715"/>
              </a:tblGrid>
              <a:tr h="907788">
                <a:tc>
                  <a:txBody>
                    <a:bodyPr/>
                    <a:lstStyle/>
                    <a:p>
                      <a:r>
                        <a:rPr lang="en-GB" dirty="0" smtClean="0"/>
                        <a:t>Institutional</a:t>
                      </a:r>
                      <a:r>
                        <a:rPr lang="en-GB" baseline="0" dirty="0" smtClean="0"/>
                        <a:t> Categor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umber</a:t>
                      </a:r>
                      <a:r>
                        <a:rPr lang="en-GB" baseline="0" dirty="0" smtClean="0"/>
                        <a:t> of institution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omments</a:t>
                      </a:r>
                      <a:endParaRPr lang="en-GB" dirty="0"/>
                    </a:p>
                  </a:txBody>
                  <a:tcPr/>
                </a:tc>
              </a:tr>
              <a:tr h="368158">
                <a:tc>
                  <a:txBody>
                    <a:bodyPr/>
                    <a:lstStyle/>
                    <a:p>
                      <a:r>
                        <a:rPr lang="en-GB" dirty="0" smtClean="0"/>
                        <a:t>Public Universiti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l public universities</a:t>
                      </a:r>
                      <a:endParaRPr lang="en-GB" dirty="0"/>
                    </a:p>
                  </a:txBody>
                  <a:tcPr/>
                </a:tc>
              </a:tr>
              <a:tr h="368158">
                <a:tc>
                  <a:txBody>
                    <a:bodyPr/>
                    <a:lstStyle/>
                    <a:p>
                      <a:r>
                        <a:rPr lang="en-GB" dirty="0" smtClean="0"/>
                        <a:t>Private Universiti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l</a:t>
                      </a:r>
                      <a:r>
                        <a:rPr lang="en-GB" baseline="0" dirty="0" smtClean="0"/>
                        <a:t> chartered universities members</a:t>
                      </a:r>
                      <a:endParaRPr lang="en-GB" dirty="0"/>
                    </a:p>
                  </a:txBody>
                  <a:tcPr/>
                </a:tc>
              </a:tr>
              <a:tr h="635451">
                <a:tc>
                  <a:txBody>
                    <a:bodyPr/>
                    <a:lstStyle/>
                    <a:p>
                      <a:r>
                        <a:rPr lang="en-GB" dirty="0" smtClean="0"/>
                        <a:t>University colleg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ost university colleges are members</a:t>
                      </a:r>
                      <a:endParaRPr lang="en-GB" dirty="0"/>
                    </a:p>
                  </a:txBody>
                  <a:tcPr/>
                </a:tc>
              </a:tr>
              <a:tr h="368158">
                <a:tc>
                  <a:txBody>
                    <a:bodyPr/>
                    <a:lstStyle/>
                    <a:p>
                      <a:r>
                        <a:rPr lang="en-GB" dirty="0" smtClean="0"/>
                        <a:t>University campus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oi University, School</a:t>
                      </a:r>
                      <a:r>
                        <a:rPr lang="en-GB" baseline="0" dirty="0" smtClean="0"/>
                        <a:t> of Medicine</a:t>
                      </a:r>
                      <a:endParaRPr lang="en-GB" dirty="0"/>
                    </a:p>
                  </a:txBody>
                  <a:tcPr/>
                </a:tc>
              </a:tr>
              <a:tr h="638534">
                <a:tc>
                  <a:txBody>
                    <a:bodyPr/>
                    <a:lstStyle/>
                    <a:p>
                      <a:r>
                        <a:rPr lang="en-GB" dirty="0" smtClean="0"/>
                        <a:t>Research institut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ILRI,</a:t>
                      </a:r>
                      <a:r>
                        <a:rPr lang="en-GB" baseline="0" dirty="0" smtClean="0"/>
                        <a:t> ICRAF, KEMRI, KEFRI,KARI, KIRDI, ICIPE, BSC</a:t>
                      </a:r>
                    </a:p>
                  </a:txBody>
                  <a:tcPr/>
                </a:tc>
              </a:tr>
              <a:tr h="368158">
                <a:tc>
                  <a:txBody>
                    <a:bodyPr/>
                    <a:lstStyle/>
                    <a:p>
                      <a:r>
                        <a:rPr lang="en-GB" dirty="0" smtClean="0"/>
                        <a:t>Librari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KNLS – joined in 2009</a:t>
                      </a:r>
                      <a:endParaRPr lang="en-GB" dirty="0"/>
                    </a:p>
                  </a:txBody>
                  <a:tcPr/>
                </a:tc>
              </a:tr>
              <a:tr h="361104">
                <a:tc>
                  <a:txBody>
                    <a:bodyPr/>
                    <a:lstStyle/>
                    <a:p>
                      <a:r>
                        <a:rPr lang="en-GB" dirty="0" smtClean="0"/>
                        <a:t>Colleg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ostly Government colleges</a:t>
                      </a:r>
                      <a:endParaRPr lang="en-GB" dirty="0"/>
                    </a:p>
                  </a:txBody>
                  <a:tcPr/>
                </a:tc>
              </a:tr>
              <a:tr h="635451">
                <a:tc>
                  <a:txBody>
                    <a:bodyPr/>
                    <a:lstStyle/>
                    <a:p>
                      <a:r>
                        <a:rPr lang="en-GB" dirty="0" smtClean="0"/>
                        <a:t>Other</a:t>
                      </a:r>
                      <a:r>
                        <a:rPr lang="en-GB" baseline="0" dirty="0" smtClean="0"/>
                        <a:t> related institutions</a:t>
                      </a:r>
                    </a:p>
                    <a:p>
                      <a:r>
                        <a:rPr lang="en-GB" baseline="0" dirty="0" smtClean="0"/>
                        <a:t>Government Affiliates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HE,</a:t>
                      </a:r>
                      <a:r>
                        <a:rPr lang="en-GB" baseline="0" dirty="0" smtClean="0"/>
                        <a:t> HELB, KIE, TSC , KSMS, KIA, KDLC, KNEC</a:t>
                      </a:r>
                      <a:endParaRPr lang="en-GB" dirty="0"/>
                    </a:p>
                  </a:txBody>
                  <a:tcPr/>
                </a:tc>
              </a:tr>
              <a:tr h="635451">
                <a:tc>
                  <a:txBody>
                    <a:bodyPr/>
                    <a:lstStyle/>
                    <a:p>
                      <a:r>
                        <a:rPr lang="en-GB" dirty="0" smtClean="0"/>
                        <a:t>Technical Institutes</a:t>
                      </a:r>
                      <a:r>
                        <a:rPr lang="en-GB" baseline="0" dirty="0" smtClean="0"/>
                        <a:t>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Machakos</a:t>
                      </a:r>
                      <a:r>
                        <a:rPr lang="en-GB" dirty="0" smtClean="0"/>
                        <a:t> Technical Training</a:t>
                      </a:r>
                      <a:r>
                        <a:rPr lang="en-GB" baseline="0" dirty="0" smtClean="0"/>
                        <a:t> Institute 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Shape 611"/>
          <p:cNvSpPr/>
          <p:nvPr/>
        </p:nvSpPr>
        <p:spPr>
          <a:xfrm>
            <a:off x="-136859" y="63497"/>
            <a:ext cx="9417719" cy="723220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</p:sp>
      <p:sp>
        <p:nvSpPr>
          <p:cNvPr id="612" name="Shape 612"/>
          <p:cNvSpPr/>
          <p:nvPr/>
        </p:nvSpPr>
        <p:spPr>
          <a:xfrm>
            <a:off x="268650" y="6346652"/>
            <a:ext cx="8606700" cy="577799"/>
          </a:xfrm>
          <a:prstGeom prst="rect">
            <a:avLst/>
          </a:prstGeom>
          <a:solidFill>
            <a:srgbClr val="FFFFFF"/>
          </a:solidFill>
          <a:ln w="1905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spAutoFit/>
          </a:bodyPr>
          <a:lstStyle/>
          <a:p>
            <a:endParaRPr/>
          </a:p>
        </p:txBody>
      </p:sp>
      <p:sp>
        <p:nvSpPr>
          <p:cNvPr id="613" name="Shape 613"/>
          <p:cNvSpPr/>
          <p:nvPr/>
        </p:nvSpPr>
        <p:spPr>
          <a:xfrm>
            <a:off x="7192852" y="517325"/>
            <a:ext cx="1596599" cy="623400"/>
          </a:xfrm>
          <a:prstGeom prst="rect">
            <a:avLst/>
          </a:prstGeom>
          <a:solidFill>
            <a:srgbClr val="FFFFFF"/>
          </a:solidFill>
          <a:ln w="1905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spAutoFit/>
          </a:bodyPr>
          <a:lstStyle/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title"/>
          </p:nvPr>
        </p:nvSpPr>
        <p:spPr>
          <a:xfrm>
            <a:off x="895296" y="560313"/>
            <a:ext cx="6267600" cy="615523"/>
          </a:xfrm>
          <a:prstGeom prst="rect">
            <a:avLst/>
          </a:prstGeom>
        </p:spPr>
        <p:txBody>
          <a:bodyPr lIns="91425" tIns="91425" rIns="91425" bIns="91425" anchor="b" anchorCtr="0">
            <a:spAutoFit/>
          </a:bodyPr>
          <a:lstStyle/>
          <a:p>
            <a:r>
              <a:rPr lang="en-US" sz="2800" dirty="0"/>
              <a:t>KENET </a:t>
            </a:r>
            <a:r>
              <a:rPr lang="en-US" sz="2800" dirty="0" smtClean="0"/>
              <a:t>Spheres Of Influence</a:t>
            </a:r>
            <a:endParaRPr lang="en" sz="2800" dirty="0">
              <a:solidFill>
                <a:srgbClr val="666666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1427011" y="1248583"/>
            <a:ext cx="1561095" cy="1188508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mpus Networks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5004333" y="1499182"/>
            <a:ext cx="1513482" cy="1188508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tional  Network via KIXP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575546" y="3993638"/>
            <a:ext cx="2063839" cy="1389189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lobal Internet Community</a:t>
            </a:r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3146879" y="2437090"/>
            <a:ext cx="1698186" cy="1188508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KENET</a:t>
            </a:r>
          </a:p>
        </p:txBody>
      </p:sp>
      <p:sp>
        <p:nvSpPr>
          <p:cNvPr id="12" name="Left-Right Arrow 11"/>
          <p:cNvSpPr/>
          <p:nvPr/>
        </p:nvSpPr>
        <p:spPr>
          <a:xfrm rot="2780044">
            <a:off x="4525822" y="3509994"/>
            <a:ext cx="878035" cy="40331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loud 12"/>
          <p:cNvSpPr/>
          <p:nvPr/>
        </p:nvSpPr>
        <p:spPr>
          <a:xfrm>
            <a:off x="6443254" y="1740856"/>
            <a:ext cx="2700746" cy="1147591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 smtClean="0">
                <a:solidFill>
                  <a:schemeClr val="tx1"/>
                </a:solidFill>
              </a:rPr>
              <a:t>Telco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NOFBI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eased Line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wned Fiber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PoP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ata Center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apacity Building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Network Availability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hared Services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Left-Right Arrow 13"/>
          <p:cNvSpPr/>
          <p:nvPr/>
        </p:nvSpPr>
        <p:spPr>
          <a:xfrm rot="20141301">
            <a:off x="4590478" y="2459321"/>
            <a:ext cx="682892" cy="30194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004334" y="4319217"/>
            <a:ext cx="1444688" cy="51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16" name="Cloud 15"/>
          <p:cNvSpPr/>
          <p:nvPr/>
        </p:nvSpPr>
        <p:spPr>
          <a:xfrm>
            <a:off x="-381000" y="4319418"/>
            <a:ext cx="2700746" cy="1147591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International Capacity – IRU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Peering –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Redundancy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ontent – Google, Akamai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Cloud 16"/>
          <p:cNvSpPr/>
          <p:nvPr/>
        </p:nvSpPr>
        <p:spPr>
          <a:xfrm>
            <a:off x="-252908" y="1776916"/>
            <a:ext cx="2700746" cy="1147591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Backbone Network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erver Room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PC to Student ratio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utoma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Directory Service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apacity Building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triped Right Arrow 17"/>
          <p:cNvSpPr/>
          <p:nvPr/>
        </p:nvSpPr>
        <p:spPr>
          <a:xfrm>
            <a:off x="811408" y="5418019"/>
            <a:ext cx="7471201" cy="395180"/>
          </a:xfrm>
          <a:prstGeom prst="striped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VOCACY AND POLICY INFLUENCE</a:t>
            </a:r>
            <a:endParaRPr lang="en-US" dirty="0"/>
          </a:p>
        </p:txBody>
      </p:sp>
      <p:sp>
        <p:nvSpPr>
          <p:cNvPr id="19" name="Striped Right Arrow 18"/>
          <p:cNvSpPr/>
          <p:nvPr/>
        </p:nvSpPr>
        <p:spPr>
          <a:xfrm>
            <a:off x="788217" y="5902651"/>
            <a:ext cx="7494392" cy="367748"/>
          </a:xfrm>
          <a:prstGeom prst="striped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SEARCH ON E-READINESS</a:t>
            </a:r>
            <a:endParaRPr lang="en-US" dirty="0"/>
          </a:p>
        </p:txBody>
      </p:sp>
      <p:sp>
        <p:nvSpPr>
          <p:cNvPr id="20" name="Striped Right Arrow 19"/>
          <p:cNvSpPr/>
          <p:nvPr/>
        </p:nvSpPr>
        <p:spPr>
          <a:xfrm>
            <a:off x="811408" y="6346599"/>
            <a:ext cx="7494392" cy="4084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FRASTRUCTURE</a:t>
            </a:r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4729154" y="3964933"/>
            <a:ext cx="2063839" cy="1389189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search and Education Community</a:t>
            </a:r>
            <a:endParaRPr lang="en-US" dirty="0"/>
          </a:p>
        </p:txBody>
      </p:sp>
      <p:sp>
        <p:nvSpPr>
          <p:cNvPr id="22" name="Left-Right Arrow 21"/>
          <p:cNvSpPr/>
          <p:nvPr/>
        </p:nvSpPr>
        <p:spPr>
          <a:xfrm rot="1869079">
            <a:off x="2740152" y="2235433"/>
            <a:ext cx="813455" cy="40331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Left-Right Arrow 22"/>
          <p:cNvSpPr/>
          <p:nvPr/>
        </p:nvSpPr>
        <p:spPr>
          <a:xfrm rot="18413425">
            <a:off x="2972370" y="3649011"/>
            <a:ext cx="682892" cy="30194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loud 23"/>
          <p:cNvSpPr/>
          <p:nvPr/>
        </p:nvSpPr>
        <p:spPr>
          <a:xfrm>
            <a:off x="6449022" y="4468018"/>
            <a:ext cx="2700746" cy="1147591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Peering – Research Network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Regional Connectivity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Redundancy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ollaboration and Twinning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3" grpId="1" animBg="1"/>
      <p:bldP spid="14" grpId="0" animBg="1"/>
      <p:bldP spid="16" grpId="0" animBg="1"/>
      <p:bldP spid="16" grpId="1" animBg="1"/>
      <p:bldP spid="17" grpId="0" animBg="1"/>
      <p:bldP spid="17" grpId="1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Shape 625"/>
          <p:cNvSpPr txBox="1">
            <a:spLocks noGrp="1"/>
          </p:cNvSpPr>
          <p:nvPr>
            <p:ph type="title"/>
          </p:nvPr>
        </p:nvSpPr>
        <p:spPr>
          <a:xfrm>
            <a:off x="429646" y="463646"/>
            <a:ext cx="8214320" cy="677078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US" sz="3200" smtClean="0"/>
              <a:t>Local &amp; International Connectivity</a:t>
            </a:r>
            <a:endParaRPr lang="en" sz="3000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rm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42900" marR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indent="-28575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24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66666"/>
              <a:buFont typeface="Arial"/>
              <a:buChar char="•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ourier New"/>
              <a:buChar char="o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Wingdings"/>
              <a:buChar char="§"/>
              <a:defRPr sz="1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National Cnnectivity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Peer at the Kenyan Exchange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1Gbps port to KIXP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10Gbps core network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Provides cheap and very fast throughput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Local traffic not affected by undersea fiber faults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Very low congestion</a:t>
            </a:r>
          </a:p>
          <a:p>
            <a:pPr marL="457200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International Connectivity – 1.95Gbps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2xSTM4 IRU Capacity (TEAMS/SMW4) to London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1xSTM4 IRU Capacity (SEACOM) to London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1xSTM4 IRU Capacity (SEACOM) to Amsterdam</a:t>
            </a:r>
          </a:p>
          <a:p>
            <a:pPr marL="457200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Regional Connectivity – Expected Mid 2013</a:t>
            </a:r>
          </a:p>
          <a:p>
            <a:pPr marL="857250" lvl="1" indent="-317500">
              <a:spcBef>
                <a:spcPts val="0"/>
              </a:spcBef>
              <a:buClr>
                <a:srgbClr val="000000"/>
              </a:buClr>
              <a:buSzPct val="129629"/>
            </a:pPr>
            <a:r>
              <a:rPr lang="en" sz="1800" i="1" dirty="0" smtClean="0">
                <a:solidFill>
                  <a:srgbClr val="666666"/>
                </a:solidFill>
              </a:rPr>
              <a:t>AfricaConnect, Ubuntunet Alliance</a:t>
            </a:r>
          </a:p>
          <a:p>
            <a:endParaRPr lang="en-US" dirty="0"/>
          </a:p>
        </p:txBody>
      </p:sp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2330" y="5715016"/>
            <a:ext cx="1675025" cy="728663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Shape 604"/>
          <p:cNvSpPr txBox="1">
            <a:spLocks noGrp="1"/>
          </p:cNvSpPr>
          <p:nvPr>
            <p:ph type="title"/>
          </p:nvPr>
        </p:nvSpPr>
        <p:spPr>
          <a:xfrm>
            <a:off x="895296" y="375647"/>
            <a:ext cx="6297556" cy="800189"/>
          </a:xfrm>
          <a:prstGeom prst="rect">
            <a:avLst/>
          </a:prstGeom>
        </p:spPr>
        <p:txBody>
          <a:bodyPr wrap="square" lIns="91425" tIns="91425" rIns="91425" bIns="91425" anchor="b" anchorCtr="0">
            <a:spAutoFit/>
          </a:bodyPr>
          <a:lstStyle/>
          <a:p>
            <a:pPr lvl="0"/>
            <a:r>
              <a:rPr lang="en-US" sz="2000" dirty="0"/>
              <a:t>KENET Rapid Growth in Connected Campuses </a:t>
            </a:r>
            <a:r>
              <a:rPr lang="en-US" sz="2000" dirty="0" smtClean="0"/>
              <a:t>(Serving more than 300,000 students)</a:t>
            </a:r>
            <a:endParaRPr lang="en" sz="2000" dirty="0">
              <a:solidFill>
                <a:srgbClr val="666666"/>
              </a:solidFill>
            </a:endParaRPr>
          </a:p>
        </p:txBody>
      </p:sp>
      <p:sp>
        <p:nvSpPr>
          <p:cNvPr id="8" name="Rectangle 3"/>
          <p:cNvSpPr txBox="1">
            <a:spLocks/>
          </p:cNvSpPr>
          <p:nvPr/>
        </p:nvSpPr>
        <p:spPr bwMode="auto">
          <a:xfrm>
            <a:off x="757440" y="1948524"/>
            <a:ext cx="5283360" cy="410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07" tIns="41403" rIns="82807" bIns="41403"/>
          <a:lstStyle>
            <a:lvl1pPr marL="342900" indent="-342900" eaLnBrk="0" hangingPunct="0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defTabSz="912885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Book Antiqua" pitchFamily="18" charset="0"/>
              </a:rPr>
              <a:t>.</a:t>
            </a:r>
          </a:p>
        </p:txBody>
      </p:sp>
      <p:sp>
        <p:nvSpPr>
          <p:cNvPr id="9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4640" y="1328540"/>
            <a:ext cx="5283360" cy="5283914"/>
          </a:xfrm>
          <a:prstGeom prst="roundRect">
            <a:avLst>
              <a:gd name="adj" fmla="val 12565"/>
            </a:avLst>
          </a:prstGeom>
          <a:solidFill>
            <a:sysClr val="window" lastClr="FFFFFF"/>
          </a:solidFill>
          <a:ln w="38100">
            <a:solidFill>
              <a:srgbClr val="4F81BD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43520" y="3649359"/>
            <a:ext cx="44723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1100" b="1" kern="0" dirty="0">
                <a:solidFill>
                  <a:sysClr val="windowText" lastClr="000000"/>
                </a:solidFill>
              </a:rPr>
              <a:t>Uganda</a:t>
            </a: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08017" y="6423089"/>
            <a:ext cx="51937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1100" b="1" kern="0" dirty="0">
                <a:solidFill>
                  <a:sysClr val="windowText" lastClr="000000"/>
                </a:solidFill>
              </a:rPr>
              <a:t>Tanzania</a:t>
            </a:r>
          </a:p>
        </p:txBody>
      </p:sp>
      <p:sp>
        <p:nvSpPr>
          <p:cNvPr id="12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93440" y="3573030"/>
            <a:ext cx="46647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1100" b="1" kern="0" dirty="0">
                <a:solidFill>
                  <a:sysClr val="windowText" lastClr="000000"/>
                </a:solidFill>
              </a:rPr>
              <a:t>Somalia</a:t>
            </a:r>
          </a:p>
        </p:txBody>
      </p:sp>
      <p:sp>
        <p:nvSpPr>
          <p:cNvPr id="13" name="Freeform 8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329120" y="2361864"/>
            <a:ext cx="714240" cy="367239"/>
          </a:xfrm>
          <a:custGeom>
            <a:avLst/>
            <a:gdLst>
              <a:gd name="T0" fmla="*/ 2147483647 w 496"/>
              <a:gd name="T1" fmla="*/ 0 h 264"/>
              <a:gd name="T2" fmla="*/ 2147483647 w 496"/>
              <a:gd name="T3" fmla="*/ 2147483647 h 264"/>
              <a:gd name="T4" fmla="*/ 2147483647 w 496"/>
              <a:gd name="T5" fmla="*/ 2147483647 h 264"/>
              <a:gd name="T6" fmla="*/ 2147483647 w 496"/>
              <a:gd name="T7" fmla="*/ 2147483647 h 264"/>
              <a:gd name="T8" fmla="*/ 2147483647 w 496"/>
              <a:gd name="T9" fmla="*/ 2147483647 h 264"/>
              <a:gd name="T10" fmla="*/ 2147483647 w 496"/>
              <a:gd name="T11" fmla="*/ 2147483647 h 264"/>
              <a:gd name="T12" fmla="*/ 0 w 496"/>
              <a:gd name="T13" fmla="*/ 2147483647 h 2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96"/>
              <a:gd name="T22" fmla="*/ 0 h 264"/>
              <a:gd name="T23" fmla="*/ 496 w 496"/>
              <a:gd name="T24" fmla="*/ 264 h 26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96" h="264">
                <a:moveTo>
                  <a:pt x="496" y="0"/>
                </a:moveTo>
                <a:lnTo>
                  <a:pt x="360" y="152"/>
                </a:lnTo>
                <a:lnTo>
                  <a:pt x="304" y="176"/>
                </a:lnTo>
                <a:lnTo>
                  <a:pt x="240" y="264"/>
                </a:lnTo>
                <a:lnTo>
                  <a:pt x="160" y="256"/>
                </a:lnTo>
                <a:lnTo>
                  <a:pt x="112" y="224"/>
                </a:lnTo>
                <a:lnTo>
                  <a:pt x="0" y="256"/>
                </a:lnTo>
              </a:path>
            </a:pathLst>
          </a:custGeom>
          <a:noFill/>
          <a:ln w="12700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82807" tIns="41403" rIns="82807" bIns="41403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Line 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H="1" flipV="1">
            <a:off x="1306080" y="4801463"/>
            <a:ext cx="541440" cy="11521"/>
          </a:xfrm>
          <a:prstGeom prst="line">
            <a:avLst/>
          </a:prstGeom>
          <a:noFill/>
          <a:ln w="12700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82807" tIns="41403" rIns="82807" bIns="41403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5" name="Freeform 11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297760" y="2292720"/>
            <a:ext cx="1088640" cy="267868"/>
          </a:xfrm>
          <a:custGeom>
            <a:avLst/>
            <a:gdLst>
              <a:gd name="T0" fmla="*/ 0 w 592"/>
              <a:gd name="T1" fmla="*/ 2147483647 h 208"/>
              <a:gd name="T2" fmla="*/ 2147483647 w 592"/>
              <a:gd name="T3" fmla="*/ 2147483647 h 208"/>
              <a:gd name="T4" fmla="*/ 2147483647 w 592"/>
              <a:gd name="T5" fmla="*/ 2147483647 h 208"/>
              <a:gd name="T6" fmla="*/ 2147483647 w 592"/>
              <a:gd name="T7" fmla="*/ 2147483647 h 208"/>
              <a:gd name="T8" fmla="*/ 2147483647 w 592"/>
              <a:gd name="T9" fmla="*/ 0 h 2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2"/>
              <a:gd name="T16" fmla="*/ 0 h 208"/>
              <a:gd name="T17" fmla="*/ 592 w 592"/>
              <a:gd name="T18" fmla="*/ 208 h 20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2" h="208">
                <a:moveTo>
                  <a:pt x="0" y="208"/>
                </a:moveTo>
                <a:lnTo>
                  <a:pt x="120" y="96"/>
                </a:lnTo>
                <a:lnTo>
                  <a:pt x="288" y="120"/>
                </a:lnTo>
                <a:lnTo>
                  <a:pt x="520" y="128"/>
                </a:lnTo>
                <a:lnTo>
                  <a:pt x="592" y="0"/>
                </a:lnTo>
              </a:path>
            </a:pathLst>
          </a:custGeom>
          <a:noFill/>
          <a:ln w="12700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82807" tIns="41403" rIns="82807" bIns="41403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Freeform 12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266085" y="4612808"/>
            <a:ext cx="832320" cy="488211"/>
          </a:xfrm>
          <a:custGeom>
            <a:avLst/>
            <a:gdLst>
              <a:gd name="T0" fmla="*/ 0 w 368"/>
              <a:gd name="T1" fmla="*/ 2147483647 h 352"/>
              <a:gd name="T2" fmla="*/ 2147483647 w 368"/>
              <a:gd name="T3" fmla="*/ 2147483647 h 352"/>
              <a:gd name="T4" fmla="*/ 2147483647 w 368"/>
              <a:gd name="T5" fmla="*/ 2147483647 h 352"/>
              <a:gd name="T6" fmla="*/ 2147483647 w 368"/>
              <a:gd name="T7" fmla="*/ 0 h 352"/>
              <a:gd name="T8" fmla="*/ 0 60000 65536"/>
              <a:gd name="T9" fmla="*/ 0 60000 65536"/>
              <a:gd name="T10" fmla="*/ 0 60000 65536"/>
              <a:gd name="T11" fmla="*/ 0 60000 65536"/>
              <a:gd name="T12" fmla="*/ 0 w 368"/>
              <a:gd name="T13" fmla="*/ 0 h 352"/>
              <a:gd name="T14" fmla="*/ 368 w 368"/>
              <a:gd name="T15" fmla="*/ 352 h 3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8" h="352">
                <a:moveTo>
                  <a:pt x="0" y="352"/>
                </a:moveTo>
                <a:lnTo>
                  <a:pt x="176" y="80"/>
                </a:lnTo>
                <a:lnTo>
                  <a:pt x="288" y="40"/>
                </a:lnTo>
                <a:lnTo>
                  <a:pt x="368" y="0"/>
                </a:lnTo>
              </a:path>
            </a:pathLst>
          </a:custGeom>
          <a:noFill/>
          <a:ln w="12700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82807" tIns="41403" rIns="82807" bIns="41403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60816" y="5817459"/>
            <a:ext cx="88325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1100" b="1" kern="0" dirty="0">
                <a:solidFill>
                  <a:sysClr val="windowText" lastClr="000000"/>
                </a:solidFill>
              </a:rPr>
              <a:t>INDIAN OCEAN</a:t>
            </a:r>
          </a:p>
        </p:txBody>
      </p:sp>
      <p:sp>
        <p:nvSpPr>
          <p:cNvPr id="18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628804" y="2219288"/>
            <a:ext cx="48410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1100" b="1" kern="0" dirty="0">
                <a:solidFill>
                  <a:sysClr val="windowText" lastClr="000000"/>
                </a:solidFill>
              </a:rPr>
              <a:t>Ethiopia</a:t>
            </a:r>
          </a:p>
        </p:txBody>
      </p:sp>
      <p:grpSp>
        <p:nvGrpSpPr>
          <p:cNvPr id="19" name="Group 15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671454" y="1956476"/>
            <a:ext cx="3792960" cy="4462309"/>
            <a:chOff x="1364" y="398"/>
            <a:chExt cx="2879" cy="3613"/>
          </a:xfrm>
          <a:solidFill>
            <a:sysClr val="window" lastClr="FFFFFF">
              <a:lumMod val="85000"/>
            </a:sysClr>
          </a:solidFill>
        </p:grpSpPr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912" y="2986"/>
              <a:ext cx="84" cy="64"/>
            </a:xfrm>
            <a:custGeom>
              <a:avLst/>
              <a:gdLst>
                <a:gd name="T0" fmla="*/ 15 w 17"/>
                <a:gd name="T1" fmla="*/ 25 h 13"/>
                <a:gd name="T2" fmla="*/ 15 w 17"/>
                <a:gd name="T3" fmla="*/ 34 h 13"/>
                <a:gd name="T4" fmla="*/ 5 w 17"/>
                <a:gd name="T5" fmla="*/ 44 h 13"/>
                <a:gd name="T6" fmla="*/ 20 w 17"/>
                <a:gd name="T7" fmla="*/ 59 h 13"/>
                <a:gd name="T8" fmla="*/ 25 w 17"/>
                <a:gd name="T9" fmla="*/ 54 h 13"/>
                <a:gd name="T10" fmla="*/ 15 w 17"/>
                <a:gd name="T11" fmla="*/ 49 h 13"/>
                <a:gd name="T12" fmla="*/ 44 w 17"/>
                <a:gd name="T13" fmla="*/ 34 h 13"/>
                <a:gd name="T14" fmla="*/ 54 w 17"/>
                <a:gd name="T15" fmla="*/ 30 h 13"/>
                <a:gd name="T16" fmla="*/ 59 w 17"/>
                <a:gd name="T17" fmla="*/ 39 h 13"/>
                <a:gd name="T18" fmla="*/ 74 w 17"/>
                <a:gd name="T19" fmla="*/ 30 h 13"/>
                <a:gd name="T20" fmla="*/ 84 w 17"/>
                <a:gd name="T21" fmla="*/ 20 h 13"/>
                <a:gd name="T22" fmla="*/ 54 w 17"/>
                <a:gd name="T23" fmla="*/ 0 h 13"/>
                <a:gd name="T24" fmla="*/ 25 w 17"/>
                <a:gd name="T25" fmla="*/ 20 h 13"/>
                <a:gd name="T26" fmla="*/ 15 w 17"/>
                <a:gd name="T27" fmla="*/ 25 h 13"/>
                <a:gd name="T28" fmla="*/ 15 w 17"/>
                <a:gd name="T29" fmla="*/ 25 h 13"/>
                <a:gd name="T30" fmla="*/ 15 w 17"/>
                <a:gd name="T31" fmla="*/ 25 h 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13"/>
                <a:gd name="T50" fmla="*/ 17 w 17"/>
                <a:gd name="T51" fmla="*/ 13 h 1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13">
                  <a:moveTo>
                    <a:pt x="3" y="5"/>
                  </a:moveTo>
                  <a:cubicBezTo>
                    <a:pt x="3" y="5"/>
                    <a:pt x="3" y="6"/>
                    <a:pt x="3" y="7"/>
                  </a:cubicBezTo>
                  <a:cubicBezTo>
                    <a:pt x="3" y="9"/>
                    <a:pt x="0" y="8"/>
                    <a:pt x="1" y="9"/>
                  </a:cubicBezTo>
                  <a:cubicBezTo>
                    <a:pt x="1" y="11"/>
                    <a:pt x="2" y="11"/>
                    <a:pt x="4" y="12"/>
                  </a:cubicBezTo>
                  <a:cubicBezTo>
                    <a:pt x="4" y="13"/>
                    <a:pt x="6" y="13"/>
                    <a:pt x="5" y="11"/>
                  </a:cubicBezTo>
                  <a:cubicBezTo>
                    <a:pt x="5" y="11"/>
                    <a:pt x="3" y="10"/>
                    <a:pt x="3" y="10"/>
                  </a:cubicBezTo>
                  <a:cubicBezTo>
                    <a:pt x="3" y="8"/>
                    <a:pt x="9" y="10"/>
                    <a:pt x="9" y="7"/>
                  </a:cubicBezTo>
                  <a:cubicBezTo>
                    <a:pt x="9" y="5"/>
                    <a:pt x="10" y="7"/>
                    <a:pt x="11" y="6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3" y="8"/>
                    <a:pt x="13" y="6"/>
                    <a:pt x="15" y="6"/>
                  </a:cubicBezTo>
                  <a:cubicBezTo>
                    <a:pt x="17" y="7"/>
                    <a:pt x="17" y="5"/>
                    <a:pt x="17" y="4"/>
                  </a:cubicBezTo>
                  <a:cubicBezTo>
                    <a:pt x="17" y="3"/>
                    <a:pt x="13" y="0"/>
                    <a:pt x="11" y="0"/>
                  </a:cubicBezTo>
                  <a:cubicBezTo>
                    <a:pt x="10" y="0"/>
                    <a:pt x="7" y="3"/>
                    <a:pt x="5" y="4"/>
                  </a:cubicBezTo>
                  <a:cubicBezTo>
                    <a:pt x="3" y="4"/>
                    <a:pt x="3" y="4"/>
                    <a:pt x="3" y="5"/>
                  </a:cubicBezTo>
                </a:path>
              </a:pathLst>
            </a:custGeom>
            <a:grpFill/>
            <a:ln w="0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gray">
            <a:xfrm>
              <a:off x="1378" y="2079"/>
              <a:ext cx="488" cy="665"/>
            </a:xfrm>
            <a:custGeom>
              <a:avLst/>
              <a:gdLst>
                <a:gd name="T0" fmla="*/ 242 w 99"/>
                <a:gd name="T1" fmla="*/ 128 h 135"/>
                <a:gd name="T2" fmla="*/ 197 w 99"/>
                <a:gd name="T3" fmla="*/ 128 h 135"/>
                <a:gd name="T4" fmla="*/ 197 w 99"/>
                <a:gd name="T5" fmla="*/ 89 h 135"/>
                <a:gd name="T6" fmla="*/ 163 w 99"/>
                <a:gd name="T7" fmla="*/ 44 h 135"/>
                <a:gd name="T8" fmla="*/ 113 w 99"/>
                <a:gd name="T9" fmla="*/ 5 h 135"/>
                <a:gd name="T10" fmla="*/ 74 w 99"/>
                <a:gd name="T11" fmla="*/ 20 h 135"/>
                <a:gd name="T12" fmla="*/ 35 w 99"/>
                <a:gd name="T13" fmla="*/ 54 h 135"/>
                <a:gd name="T14" fmla="*/ 0 w 99"/>
                <a:gd name="T15" fmla="*/ 113 h 135"/>
                <a:gd name="T16" fmla="*/ 15 w 99"/>
                <a:gd name="T17" fmla="*/ 148 h 135"/>
                <a:gd name="T18" fmla="*/ 35 w 99"/>
                <a:gd name="T19" fmla="*/ 143 h 135"/>
                <a:gd name="T20" fmla="*/ 44 w 99"/>
                <a:gd name="T21" fmla="*/ 153 h 135"/>
                <a:gd name="T22" fmla="*/ 35 w 99"/>
                <a:gd name="T23" fmla="*/ 172 h 135"/>
                <a:gd name="T24" fmla="*/ 79 w 99"/>
                <a:gd name="T25" fmla="*/ 207 h 135"/>
                <a:gd name="T26" fmla="*/ 94 w 99"/>
                <a:gd name="T27" fmla="*/ 236 h 135"/>
                <a:gd name="T28" fmla="*/ 118 w 99"/>
                <a:gd name="T29" fmla="*/ 261 h 135"/>
                <a:gd name="T30" fmla="*/ 148 w 99"/>
                <a:gd name="T31" fmla="*/ 222 h 135"/>
                <a:gd name="T32" fmla="*/ 163 w 99"/>
                <a:gd name="T33" fmla="*/ 182 h 135"/>
                <a:gd name="T34" fmla="*/ 217 w 99"/>
                <a:gd name="T35" fmla="*/ 172 h 135"/>
                <a:gd name="T36" fmla="*/ 246 w 99"/>
                <a:gd name="T37" fmla="*/ 153 h 135"/>
                <a:gd name="T38" fmla="*/ 256 w 99"/>
                <a:gd name="T39" fmla="*/ 153 h 135"/>
                <a:gd name="T40" fmla="*/ 301 w 99"/>
                <a:gd name="T41" fmla="*/ 212 h 135"/>
                <a:gd name="T42" fmla="*/ 301 w 99"/>
                <a:gd name="T43" fmla="*/ 236 h 135"/>
                <a:gd name="T44" fmla="*/ 276 w 99"/>
                <a:gd name="T45" fmla="*/ 232 h 135"/>
                <a:gd name="T46" fmla="*/ 266 w 99"/>
                <a:gd name="T47" fmla="*/ 251 h 135"/>
                <a:gd name="T48" fmla="*/ 163 w 99"/>
                <a:gd name="T49" fmla="*/ 261 h 135"/>
                <a:gd name="T50" fmla="*/ 158 w 99"/>
                <a:gd name="T51" fmla="*/ 320 h 135"/>
                <a:gd name="T52" fmla="*/ 153 w 99"/>
                <a:gd name="T53" fmla="*/ 291 h 135"/>
                <a:gd name="T54" fmla="*/ 128 w 99"/>
                <a:gd name="T55" fmla="*/ 300 h 135"/>
                <a:gd name="T56" fmla="*/ 104 w 99"/>
                <a:gd name="T57" fmla="*/ 300 h 135"/>
                <a:gd name="T58" fmla="*/ 59 w 99"/>
                <a:gd name="T59" fmla="*/ 320 h 135"/>
                <a:gd name="T60" fmla="*/ 25 w 99"/>
                <a:gd name="T61" fmla="*/ 340 h 135"/>
                <a:gd name="T62" fmla="*/ 15 w 99"/>
                <a:gd name="T63" fmla="*/ 384 h 135"/>
                <a:gd name="T64" fmla="*/ 49 w 99"/>
                <a:gd name="T65" fmla="*/ 468 h 135"/>
                <a:gd name="T66" fmla="*/ 35 w 99"/>
                <a:gd name="T67" fmla="*/ 493 h 135"/>
                <a:gd name="T68" fmla="*/ 25 w 99"/>
                <a:gd name="T69" fmla="*/ 517 h 135"/>
                <a:gd name="T70" fmla="*/ 271 w 99"/>
                <a:gd name="T71" fmla="*/ 665 h 135"/>
                <a:gd name="T72" fmla="*/ 251 w 99"/>
                <a:gd name="T73" fmla="*/ 586 h 135"/>
                <a:gd name="T74" fmla="*/ 217 w 99"/>
                <a:gd name="T75" fmla="*/ 522 h 135"/>
                <a:gd name="T76" fmla="*/ 261 w 99"/>
                <a:gd name="T77" fmla="*/ 493 h 135"/>
                <a:gd name="T78" fmla="*/ 365 w 99"/>
                <a:gd name="T79" fmla="*/ 463 h 135"/>
                <a:gd name="T80" fmla="*/ 394 w 99"/>
                <a:gd name="T81" fmla="*/ 414 h 135"/>
                <a:gd name="T82" fmla="*/ 389 w 99"/>
                <a:gd name="T83" fmla="*/ 365 h 135"/>
                <a:gd name="T84" fmla="*/ 365 w 99"/>
                <a:gd name="T85" fmla="*/ 256 h 135"/>
                <a:gd name="T86" fmla="*/ 384 w 99"/>
                <a:gd name="T87" fmla="*/ 207 h 135"/>
                <a:gd name="T88" fmla="*/ 424 w 99"/>
                <a:gd name="T89" fmla="*/ 182 h 135"/>
                <a:gd name="T90" fmla="*/ 478 w 99"/>
                <a:gd name="T91" fmla="*/ 212 h 135"/>
                <a:gd name="T92" fmla="*/ 463 w 99"/>
                <a:gd name="T93" fmla="*/ 148 h 135"/>
                <a:gd name="T94" fmla="*/ 409 w 99"/>
                <a:gd name="T95" fmla="*/ 123 h 135"/>
                <a:gd name="T96" fmla="*/ 281 w 99"/>
                <a:gd name="T97" fmla="*/ 128 h 135"/>
                <a:gd name="T98" fmla="*/ 276 w 99"/>
                <a:gd name="T99" fmla="*/ 128 h 13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9"/>
                <a:gd name="T151" fmla="*/ 0 h 135"/>
                <a:gd name="T152" fmla="*/ 99 w 99"/>
                <a:gd name="T153" fmla="*/ 135 h 13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9" h="135">
                  <a:moveTo>
                    <a:pt x="56" y="26"/>
                  </a:moveTo>
                  <a:cubicBezTo>
                    <a:pt x="53" y="24"/>
                    <a:pt x="51" y="26"/>
                    <a:pt x="49" y="26"/>
                  </a:cubicBezTo>
                  <a:cubicBezTo>
                    <a:pt x="48" y="26"/>
                    <a:pt x="47" y="24"/>
                    <a:pt x="44" y="24"/>
                  </a:cubicBezTo>
                  <a:cubicBezTo>
                    <a:pt x="43" y="24"/>
                    <a:pt x="42" y="26"/>
                    <a:pt x="40" y="26"/>
                  </a:cubicBezTo>
                  <a:cubicBezTo>
                    <a:pt x="39" y="26"/>
                    <a:pt x="39" y="23"/>
                    <a:pt x="39" y="22"/>
                  </a:cubicBezTo>
                  <a:cubicBezTo>
                    <a:pt x="39" y="20"/>
                    <a:pt x="40" y="20"/>
                    <a:pt x="40" y="18"/>
                  </a:cubicBezTo>
                  <a:cubicBezTo>
                    <a:pt x="40" y="15"/>
                    <a:pt x="37" y="16"/>
                    <a:pt x="36" y="15"/>
                  </a:cubicBezTo>
                  <a:cubicBezTo>
                    <a:pt x="33" y="14"/>
                    <a:pt x="34" y="10"/>
                    <a:pt x="33" y="9"/>
                  </a:cubicBezTo>
                  <a:cubicBezTo>
                    <a:pt x="32" y="6"/>
                    <a:pt x="30" y="0"/>
                    <a:pt x="27" y="0"/>
                  </a:cubicBezTo>
                  <a:cubicBezTo>
                    <a:pt x="25" y="0"/>
                    <a:pt x="25" y="1"/>
                    <a:pt x="23" y="1"/>
                  </a:cubicBezTo>
                  <a:cubicBezTo>
                    <a:pt x="22" y="1"/>
                    <a:pt x="21" y="0"/>
                    <a:pt x="20" y="0"/>
                  </a:cubicBezTo>
                  <a:cubicBezTo>
                    <a:pt x="16" y="0"/>
                    <a:pt x="17" y="3"/>
                    <a:pt x="15" y="4"/>
                  </a:cubicBezTo>
                  <a:cubicBezTo>
                    <a:pt x="13" y="5"/>
                    <a:pt x="12" y="4"/>
                    <a:pt x="10" y="4"/>
                  </a:cubicBezTo>
                  <a:cubicBezTo>
                    <a:pt x="7" y="6"/>
                    <a:pt x="7" y="8"/>
                    <a:pt x="7" y="11"/>
                  </a:cubicBezTo>
                  <a:cubicBezTo>
                    <a:pt x="7" y="15"/>
                    <a:pt x="4" y="15"/>
                    <a:pt x="3" y="17"/>
                  </a:cubicBezTo>
                  <a:cubicBezTo>
                    <a:pt x="1" y="19"/>
                    <a:pt x="3" y="23"/>
                    <a:pt x="0" y="23"/>
                  </a:cubicBezTo>
                  <a:cubicBezTo>
                    <a:pt x="0" y="23"/>
                    <a:pt x="0" y="27"/>
                    <a:pt x="1" y="27"/>
                  </a:cubicBezTo>
                  <a:cubicBezTo>
                    <a:pt x="3" y="28"/>
                    <a:pt x="1" y="30"/>
                    <a:pt x="3" y="30"/>
                  </a:cubicBezTo>
                  <a:cubicBezTo>
                    <a:pt x="4" y="29"/>
                    <a:pt x="4" y="31"/>
                    <a:pt x="4" y="31"/>
                  </a:cubicBezTo>
                  <a:cubicBezTo>
                    <a:pt x="7" y="33"/>
                    <a:pt x="5" y="29"/>
                    <a:pt x="7" y="29"/>
                  </a:cubicBezTo>
                  <a:cubicBezTo>
                    <a:pt x="7" y="29"/>
                    <a:pt x="9" y="28"/>
                    <a:pt x="10" y="29"/>
                  </a:cubicBezTo>
                  <a:cubicBezTo>
                    <a:pt x="10" y="30"/>
                    <a:pt x="10" y="30"/>
                    <a:pt x="9" y="31"/>
                  </a:cubicBezTo>
                  <a:cubicBezTo>
                    <a:pt x="8" y="31"/>
                    <a:pt x="12" y="31"/>
                    <a:pt x="9" y="34"/>
                  </a:cubicBezTo>
                  <a:cubicBezTo>
                    <a:pt x="8" y="34"/>
                    <a:pt x="7" y="33"/>
                    <a:pt x="7" y="35"/>
                  </a:cubicBezTo>
                  <a:cubicBezTo>
                    <a:pt x="7" y="38"/>
                    <a:pt x="10" y="40"/>
                    <a:pt x="12" y="39"/>
                  </a:cubicBezTo>
                  <a:cubicBezTo>
                    <a:pt x="15" y="38"/>
                    <a:pt x="13" y="42"/>
                    <a:pt x="16" y="42"/>
                  </a:cubicBezTo>
                  <a:cubicBezTo>
                    <a:pt x="18" y="42"/>
                    <a:pt x="20" y="44"/>
                    <a:pt x="19" y="46"/>
                  </a:cubicBezTo>
                  <a:cubicBezTo>
                    <a:pt x="19" y="46"/>
                    <a:pt x="19" y="46"/>
                    <a:pt x="19" y="48"/>
                  </a:cubicBezTo>
                  <a:cubicBezTo>
                    <a:pt x="19" y="50"/>
                    <a:pt x="21" y="51"/>
                    <a:pt x="21" y="53"/>
                  </a:cubicBezTo>
                  <a:cubicBezTo>
                    <a:pt x="20" y="55"/>
                    <a:pt x="23" y="56"/>
                    <a:pt x="24" y="53"/>
                  </a:cubicBezTo>
                  <a:cubicBezTo>
                    <a:pt x="24" y="53"/>
                    <a:pt x="29" y="48"/>
                    <a:pt x="29" y="47"/>
                  </a:cubicBezTo>
                  <a:cubicBezTo>
                    <a:pt x="30" y="46"/>
                    <a:pt x="30" y="46"/>
                    <a:pt x="30" y="45"/>
                  </a:cubicBezTo>
                  <a:cubicBezTo>
                    <a:pt x="30" y="42"/>
                    <a:pt x="27" y="42"/>
                    <a:pt x="27" y="40"/>
                  </a:cubicBezTo>
                  <a:cubicBezTo>
                    <a:pt x="27" y="37"/>
                    <a:pt x="30" y="39"/>
                    <a:pt x="33" y="37"/>
                  </a:cubicBezTo>
                  <a:cubicBezTo>
                    <a:pt x="34" y="37"/>
                    <a:pt x="37" y="38"/>
                    <a:pt x="39" y="38"/>
                  </a:cubicBezTo>
                  <a:cubicBezTo>
                    <a:pt x="41" y="38"/>
                    <a:pt x="42" y="35"/>
                    <a:pt x="44" y="35"/>
                  </a:cubicBezTo>
                  <a:cubicBezTo>
                    <a:pt x="47" y="34"/>
                    <a:pt x="48" y="32"/>
                    <a:pt x="50" y="31"/>
                  </a:cubicBezTo>
                  <a:lnTo>
                    <a:pt x="52" y="31"/>
                  </a:lnTo>
                  <a:cubicBezTo>
                    <a:pt x="52" y="35"/>
                    <a:pt x="57" y="36"/>
                    <a:pt x="59" y="39"/>
                  </a:cubicBezTo>
                  <a:cubicBezTo>
                    <a:pt x="60" y="40"/>
                    <a:pt x="59" y="42"/>
                    <a:pt x="61" y="43"/>
                  </a:cubicBezTo>
                  <a:cubicBezTo>
                    <a:pt x="61" y="44"/>
                    <a:pt x="63" y="45"/>
                    <a:pt x="63" y="46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59" y="48"/>
                    <a:pt x="61" y="46"/>
                    <a:pt x="58" y="46"/>
                  </a:cubicBezTo>
                  <a:cubicBezTo>
                    <a:pt x="58" y="46"/>
                    <a:pt x="56" y="47"/>
                    <a:pt x="56" y="47"/>
                  </a:cubicBezTo>
                  <a:cubicBezTo>
                    <a:pt x="56" y="49"/>
                    <a:pt x="56" y="48"/>
                    <a:pt x="56" y="51"/>
                  </a:cubicBezTo>
                  <a:cubicBezTo>
                    <a:pt x="55" y="50"/>
                    <a:pt x="56" y="51"/>
                    <a:pt x="54" y="51"/>
                  </a:cubicBezTo>
                  <a:cubicBezTo>
                    <a:pt x="50" y="51"/>
                    <a:pt x="47" y="49"/>
                    <a:pt x="41" y="49"/>
                  </a:cubicBezTo>
                  <a:cubicBezTo>
                    <a:pt x="37" y="49"/>
                    <a:pt x="33" y="48"/>
                    <a:pt x="33" y="53"/>
                  </a:cubicBezTo>
                  <a:cubicBezTo>
                    <a:pt x="33" y="56"/>
                    <a:pt x="34" y="57"/>
                    <a:pt x="37" y="58"/>
                  </a:cubicBezTo>
                  <a:cubicBezTo>
                    <a:pt x="40" y="60"/>
                    <a:pt x="34" y="65"/>
                    <a:pt x="32" y="65"/>
                  </a:cubicBezTo>
                  <a:cubicBezTo>
                    <a:pt x="29" y="65"/>
                    <a:pt x="31" y="63"/>
                    <a:pt x="32" y="63"/>
                  </a:cubicBezTo>
                  <a:cubicBezTo>
                    <a:pt x="31" y="62"/>
                    <a:pt x="31" y="58"/>
                    <a:pt x="31" y="59"/>
                  </a:cubicBezTo>
                  <a:cubicBezTo>
                    <a:pt x="30" y="59"/>
                    <a:pt x="28" y="58"/>
                    <a:pt x="27" y="58"/>
                  </a:cubicBezTo>
                  <a:cubicBezTo>
                    <a:pt x="27" y="60"/>
                    <a:pt x="27" y="61"/>
                    <a:pt x="26" y="61"/>
                  </a:cubicBezTo>
                  <a:cubicBezTo>
                    <a:pt x="25" y="61"/>
                    <a:pt x="24" y="58"/>
                    <a:pt x="23" y="59"/>
                  </a:cubicBezTo>
                  <a:cubicBezTo>
                    <a:pt x="22" y="61"/>
                    <a:pt x="23" y="61"/>
                    <a:pt x="21" y="61"/>
                  </a:cubicBezTo>
                  <a:cubicBezTo>
                    <a:pt x="20" y="60"/>
                    <a:pt x="20" y="57"/>
                    <a:pt x="17" y="57"/>
                  </a:cubicBezTo>
                  <a:cubicBezTo>
                    <a:pt x="11" y="57"/>
                    <a:pt x="14" y="63"/>
                    <a:pt x="12" y="65"/>
                  </a:cubicBezTo>
                  <a:cubicBezTo>
                    <a:pt x="10" y="67"/>
                    <a:pt x="8" y="63"/>
                    <a:pt x="7" y="66"/>
                  </a:cubicBezTo>
                  <a:cubicBezTo>
                    <a:pt x="7" y="68"/>
                    <a:pt x="4" y="66"/>
                    <a:pt x="5" y="69"/>
                  </a:cubicBezTo>
                  <a:cubicBezTo>
                    <a:pt x="5" y="70"/>
                    <a:pt x="6" y="70"/>
                    <a:pt x="6" y="70"/>
                  </a:cubicBezTo>
                  <a:cubicBezTo>
                    <a:pt x="6" y="73"/>
                    <a:pt x="3" y="74"/>
                    <a:pt x="3" y="78"/>
                  </a:cubicBezTo>
                  <a:cubicBezTo>
                    <a:pt x="3" y="84"/>
                    <a:pt x="7" y="89"/>
                    <a:pt x="12" y="91"/>
                  </a:cubicBezTo>
                  <a:cubicBezTo>
                    <a:pt x="17" y="92"/>
                    <a:pt x="12" y="95"/>
                    <a:pt x="10" y="95"/>
                  </a:cubicBezTo>
                  <a:cubicBezTo>
                    <a:pt x="9" y="95"/>
                    <a:pt x="10" y="99"/>
                    <a:pt x="10" y="100"/>
                  </a:cubicBezTo>
                  <a:cubicBezTo>
                    <a:pt x="9" y="103"/>
                    <a:pt x="7" y="102"/>
                    <a:pt x="7" y="100"/>
                  </a:cubicBezTo>
                  <a:cubicBezTo>
                    <a:pt x="5" y="101"/>
                    <a:pt x="4" y="100"/>
                    <a:pt x="4" y="103"/>
                  </a:cubicBezTo>
                  <a:cubicBezTo>
                    <a:pt x="4" y="104"/>
                    <a:pt x="6" y="104"/>
                    <a:pt x="5" y="105"/>
                  </a:cubicBezTo>
                  <a:lnTo>
                    <a:pt x="55" y="135"/>
                  </a:lnTo>
                  <a:cubicBezTo>
                    <a:pt x="54" y="130"/>
                    <a:pt x="52" y="121"/>
                    <a:pt x="51" y="119"/>
                  </a:cubicBezTo>
                  <a:cubicBezTo>
                    <a:pt x="48" y="115"/>
                    <a:pt x="48" y="114"/>
                    <a:pt x="47" y="111"/>
                  </a:cubicBezTo>
                  <a:cubicBezTo>
                    <a:pt x="43" y="110"/>
                    <a:pt x="46" y="108"/>
                    <a:pt x="44" y="106"/>
                  </a:cubicBezTo>
                  <a:cubicBezTo>
                    <a:pt x="42" y="103"/>
                    <a:pt x="45" y="101"/>
                    <a:pt x="45" y="101"/>
                  </a:cubicBezTo>
                  <a:cubicBezTo>
                    <a:pt x="47" y="99"/>
                    <a:pt x="50" y="100"/>
                    <a:pt x="53" y="100"/>
                  </a:cubicBezTo>
                  <a:cubicBezTo>
                    <a:pt x="57" y="100"/>
                    <a:pt x="59" y="99"/>
                    <a:pt x="63" y="98"/>
                  </a:cubicBezTo>
                  <a:cubicBezTo>
                    <a:pt x="67" y="97"/>
                    <a:pt x="71" y="95"/>
                    <a:pt x="74" y="94"/>
                  </a:cubicBezTo>
                  <a:cubicBezTo>
                    <a:pt x="77" y="93"/>
                    <a:pt x="74" y="90"/>
                    <a:pt x="76" y="89"/>
                  </a:cubicBezTo>
                  <a:cubicBezTo>
                    <a:pt x="77" y="88"/>
                    <a:pt x="80" y="87"/>
                    <a:pt x="80" y="84"/>
                  </a:cubicBezTo>
                  <a:cubicBezTo>
                    <a:pt x="80" y="82"/>
                    <a:pt x="78" y="80"/>
                    <a:pt x="78" y="77"/>
                  </a:cubicBezTo>
                  <a:cubicBezTo>
                    <a:pt x="78" y="76"/>
                    <a:pt x="79" y="75"/>
                    <a:pt x="79" y="74"/>
                  </a:cubicBezTo>
                  <a:cubicBezTo>
                    <a:pt x="79" y="71"/>
                    <a:pt x="77" y="67"/>
                    <a:pt x="77" y="62"/>
                  </a:cubicBezTo>
                  <a:cubicBezTo>
                    <a:pt x="77" y="58"/>
                    <a:pt x="74" y="52"/>
                    <a:pt x="74" y="52"/>
                  </a:cubicBezTo>
                  <a:cubicBezTo>
                    <a:pt x="74" y="51"/>
                    <a:pt x="77" y="48"/>
                    <a:pt x="78" y="47"/>
                  </a:cubicBezTo>
                  <a:cubicBezTo>
                    <a:pt x="79" y="46"/>
                    <a:pt x="78" y="44"/>
                    <a:pt x="78" y="42"/>
                  </a:cubicBezTo>
                  <a:cubicBezTo>
                    <a:pt x="78" y="40"/>
                    <a:pt x="83" y="34"/>
                    <a:pt x="85" y="34"/>
                  </a:cubicBezTo>
                  <a:cubicBezTo>
                    <a:pt x="86" y="34"/>
                    <a:pt x="86" y="37"/>
                    <a:pt x="86" y="37"/>
                  </a:cubicBezTo>
                  <a:cubicBezTo>
                    <a:pt x="88" y="39"/>
                    <a:pt x="89" y="37"/>
                    <a:pt x="90" y="37"/>
                  </a:cubicBezTo>
                  <a:cubicBezTo>
                    <a:pt x="94" y="38"/>
                    <a:pt x="93" y="43"/>
                    <a:pt x="97" y="43"/>
                  </a:cubicBezTo>
                  <a:cubicBezTo>
                    <a:pt x="99" y="43"/>
                    <a:pt x="99" y="42"/>
                    <a:pt x="99" y="40"/>
                  </a:cubicBezTo>
                  <a:cubicBezTo>
                    <a:pt x="99" y="35"/>
                    <a:pt x="95" y="35"/>
                    <a:pt x="94" y="30"/>
                  </a:cubicBezTo>
                  <a:cubicBezTo>
                    <a:pt x="91" y="30"/>
                    <a:pt x="92" y="28"/>
                    <a:pt x="91" y="27"/>
                  </a:cubicBezTo>
                  <a:cubicBezTo>
                    <a:pt x="89" y="26"/>
                    <a:pt x="84" y="26"/>
                    <a:pt x="83" y="25"/>
                  </a:cubicBezTo>
                  <a:cubicBezTo>
                    <a:pt x="82" y="27"/>
                    <a:pt x="80" y="28"/>
                    <a:pt x="78" y="28"/>
                  </a:cubicBezTo>
                  <a:cubicBezTo>
                    <a:pt x="76" y="28"/>
                    <a:pt x="57" y="27"/>
                    <a:pt x="57" y="26"/>
                  </a:cubicBezTo>
                  <a:lnTo>
                    <a:pt x="56" y="26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2690" y="2197"/>
              <a:ext cx="1444" cy="1814"/>
            </a:xfrm>
            <a:custGeom>
              <a:avLst/>
              <a:gdLst>
                <a:gd name="T0" fmla="*/ 197 w 293"/>
                <a:gd name="T1" fmla="*/ 1045 h 368"/>
                <a:gd name="T2" fmla="*/ 325 w 293"/>
                <a:gd name="T3" fmla="*/ 1149 h 368"/>
                <a:gd name="T4" fmla="*/ 483 w 293"/>
                <a:gd name="T5" fmla="*/ 1173 h 368"/>
                <a:gd name="T6" fmla="*/ 537 w 293"/>
                <a:gd name="T7" fmla="*/ 1158 h 368"/>
                <a:gd name="T8" fmla="*/ 389 w 293"/>
                <a:gd name="T9" fmla="*/ 937 h 368"/>
                <a:gd name="T10" fmla="*/ 478 w 293"/>
                <a:gd name="T11" fmla="*/ 823 h 368"/>
                <a:gd name="T12" fmla="*/ 513 w 293"/>
                <a:gd name="T13" fmla="*/ 656 h 368"/>
                <a:gd name="T14" fmla="*/ 306 w 293"/>
                <a:gd name="T15" fmla="*/ 35 h 368"/>
                <a:gd name="T16" fmla="*/ 355 w 293"/>
                <a:gd name="T17" fmla="*/ 0 h 368"/>
                <a:gd name="T18" fmla="*/ 448 w 293"/>
                <a:gd name="T19" fmla="*/ 15 h 368"/>
                <a:gd name="T20" fmla="*/ 685 w 293"/>
                <a:gd name="T21" fmla="*/ 59 h 368"/>
                <a:gd name="T22" fmla="*/ 808 w 293"/>
                <a:gd name="T23" fmla="*/ 212 h 368"/>
                <a:gd name="T24" fmla="*/ 872 w 293"/>
                <a:gd name="T25" fmla="*/ 399 h 368"/>
                <a:gd name="T26" fmla="*/ 902 w 293"/>
                <a:gd name="T27" fmla="*/ 527 h 368"/>
                <a:gd name="T28" fmla="*/ 946 w 293"/>
                <a:gd name="T29" fmla="*/ 715 h 368"/>
                <a:gd name="T30" fmla="*/ 1444 w 293"/>
                <a:gd name="T31" fmla="*/ 636 h 368"/>
                <a:gd name="T32" fmla="*/ 1405 w 293"/>
                <a:gd name="T33" fmla="*/ 705 h 368"/>
                <a:gd name="T34" fmla="*/ 1331 w 293"/>
                <a:gd name="T35" fmla="*/ 759 h 368"/>
                <a:gd name="T36" fmla="*/ 1291 w 293"/>
                <a:gd name="T37" fmla="*/ 769 h 368"/>
                <a:gd name="T38" fmla="*/ 1242 w 293"/>
                <a:gd name="T39" fmla="*/ 749 h 368"/>
                <a:gd name="T40" fmla="*/ 1232 w 293"/>
                <a:gd name="T41" fmla="*/ 803 h 368"/>
                <a:gd name="T42" fmla="*/ 1198 w 293"/>
                <a:gd name="T43" fmla="*/ 784 h 368"/>
                <a:gd name="T44" fmla="*/ 1212 w 293"/>
                <a:gd name="T45" fmla="*/ 833 h 368"/>
                <a:gd name="T46" fmla="*/ 1217 w 293"/>
                <a:gd name="T47" fmla="*/ 897 h 368"/>
                <a:gd name="T48" fmla="*/ 1198 w 293"/>
                <a:gd name="T49" fmla="*/ 863 h 368"/>
                <a:gd name="T50" fmla="*/ 1183 w 293"/>
                <a:gd name="T51" fmla="*/ 897 h 368"/>
                <a:gd name="T52" fmla="*/ 1183 w 293"/>
                <a:gd name="T53" fmla="*/ 922 h 368"/>
                <a:gd name="T54" fmla="*/ 1109 w 293"/>
                <a:gd name="T55" fmla="*/ 991 h 368"/>
                <a:gd name="T56" fmla="*/ 941 w 293"/>
                <a:gd name="T57" fmla="*/ 1080 h 368"/>
                <a:gd name="T58" fmla="*/ 946 w 293"/>
                <a:gd name="T59" fmla="*/ 1149 h 368"/>
                <a:gd name="T60" fmla="*/ 941 w 293"/>
                <a:gd name="T61" fmla="*/ 1208 h 368"/>
                <a:gd name="T62" fmla="*/ 927 w 293"/>
                <a:gd name="T63" fmla="*/ 1272 h 368"/>
                <a:gd name="T64" fmla="*/ 867 w 293"/>
                <a:gd name="T65" fmla="*/ 1291 h 368"/>
                <a:gd name="T66" fmla="*/ 843 w 293"/>
                <a:gd name="T67" fmla="*/ 1375 h 368"/>
                <a:gd name="T68" fmla="*/ 798 w 293"/>
                <a:gd name="T69" fmla="*/ 1395 h 368"/>
                <a:gd name="T70" fmla="*/ 833 w 293"/>
                <a:gd name="T71" fmla="*/ 1415 h 368"/>
                <a:gd name="T72" fmla="*/ 779 w 293"/>
                <a:gd name="T73" fmla="*/ 1528 h 368"/>
                <a:gd name="T74" fmla="*/ 784 w 293"/>
                <a:gd name="T75" fmla="*/ 1543 h 368"/>
                <a:gd name="T76" fmla="*/ 749 w 293"/>
                <a:gd name="T77" fmla="*/ 1548 h 368"/>
                <a:gd name="T78" fmla="*/ 739 w 293"/>
                <a:gd name="T79" fmla="*/ 1568 h 368"/>
                <a:gd name="T80" fmla="*/ 759 w 293"/>
                <a:gd name="T81" fmla="*/ 1587 h 368"/>
                <a:gd name="T82" fmla="*/ 710 w 293"/>
                <a:gd name="T83" fmla="*/ 1720 h 368"/>
                <a:gd name="T84" fmla="*/ 685 w 293"/>
                <a:gd name="T85" fmla="*/ 1775 h 368"/>
                <a:gd name="T86" fmla="*/ 660 w 293"/>
                <a:gd name="T87" fmla="*/ 1784 h 368"/>
                <a:gd name="T88" fmla="*/ 631 w 293"/>
                <a:gd name="T89" fmla="*/ 1794 h 368"/>
                <a:gd name="T90" fmla="*/ 586 w 293"/>
                <a:gd name="T91" fmla="*/ 1814 h 368"/>
                <a:gd name="T92" fmla="*/ 69 w 293"/>
                <a:gd name="T93" fmla="*/ 1415 h 368"/>
                <a:gd name="T94" fmla="*/ 15 w 293"/>
                <a:gd name="T95" fmla="*/ 1346 h 368"/>
                <a:gd name="T96" fmla="*/ 34 w 293"/>
                <a:gd name="T97" fmla="*/ 1232 h 368"/>
                <a:gd name="T98" fmla="*/ 118 w 293"/>
                <a:gd name="T99" fmla="*/ 1109 h 368"/>
                <a:gd name="T100" fmla="*/ 123 w 293"/>
                <a:gd name="T101" fmla="*/ 1080 h 3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93"/>
                <a:gd name="T154" fmla="*/ 0 h 368"/>
                <a:gd name="T155" fmla="*/ 293 w 293"/>
                <a:gd name="T156" fmla="*/ 368 h 3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93" h="368">
                  <a:moveTo>
                    <a:pt x="25" y="219"/>
                  </a:moveTo>
                  <a:lnTo>
                    <a:pt x="32" y="217"/>
                  </a:lnTo>
                  <a:cubicBezTo>
                    <a:pt x="36" y="215"/>
                    <a:pt x="39" y="211"/>
                    <a:pt x="40" y="212"/>
                  </a:cubicBezTo>
                  <a:cubicBezTo>
                    <a:pt x="44" y="213"/>
                    <a:pt x="52" y="217"/>
                    <a:pt x="54" y="220"/>
                  </a:cubicBezTo>
                  <a:cubicBezTo>
                    <a:pt x="55" y="222"/>
                    <a:pt x="54" y="225"/>
                    <a:pt x="55" y="227"/>
                  </a:cubicBezTo>
                  <a:cubicBezTo>
                    <a:pt x="56" y="230"/>
                    <a:pt x="61" y="229"/>
                    <a:pt x="63" y="231"/>
                  </a:cubicBezTo>
                  <a:cubicBezTo>
                    <a:pt x="64" y="232"/>
                    <a:pt x="65" y="233"/>
                    <a:pt x="66" y="233"/>
                  </a:cubicBezTo>
                  <a:cubicBezTo>
                    <a:pt x="68" y="233"/>
                    <a:pt x="71" y="231"/>
                    <a:pt x="75" y="233"/>
                  </a:cubicBezTo>
                  <a:cubicBezTo>
                    <a:pt x="79" y="236"/>
                    <a:pt x="79" y="238"/>
                    <a:pt x="85" y="238"/>
                  </a:cubicBezTo>
                  <a:cubicBezTo>
                    <a:pt x="88" y="238"/>
                    <a:pt x="88" y="240"/>
                    <a:pt x="91" y="240"/>
                  </a:cubicBezTo>
                  <a:cubicBezTo>
                    <a:pt x="94" y="240"/>
                    <a:pt x="95" y="239"/>
                    <a:pt x="98" y="238"/>
                  </a:cubicBezTo>
                  <a:lnTo>
                    <a:pt x="108" y="238"/>
                  </a:lnTo>
                  <a:cubicBezTo>
                    <a:pt x="108" y="237"/>
                    <a:pt x="109" y="237"/>
                    <a:pt x="109" y="235"/>
                  </a:cubicBezTo>
                  <a:cubicBezTo>
                    <a:pt x="109" y="234"/>
                    <a:pt x="107" y="233"/>
                    <a:pt x="107" y="232"/>
                  </a:cubicBezTo>
                  <a:cubicBezTo>
                    <a:pt x="104" y="228"/>
                    <a:pt x="101" y="225"/>
                    <a:pt x="98" y="220"/>
                  </a:cubicBezTo>
                  <a:lnTo>
                    <a:pt x="79" y="190"/>
                  </a:lnTo>
                  <a:cubicBezTo>
                    <a:pt x="79" y="187"/>
                    <a:pt x="81" y="189"/>
                    <a:pt x="82" y="189"/>
                  </a:cubicBezTo>
                  <a:cubicBezTo>
                    <a:pt x="85" y="189"/>
                    <a:pt x="84" y="185"/>
                    <a:pt x="86" y="185"/>
                  </a:cubicBezTo>
                  <a:cubicBezTo>
                    <a:pt x="92" y="184"/>
                    <a:pt x="94" y="173"/>
                    <a:pt x="97" y="167"/>
                  </a:cubicBezTo>
                  <a:cubicBezTo>
                    <a:pt x="101" y="159"/>
                    <a:pt x="104" y="157"/>
                    <a:pt x="104" y="147"/>
                  </a:cubicBezTo>
                  <a:cubicBezTo>
                    <a:pt x="104" y="143"/>
                    <a:pt x="102" y="138"/>
                    <a:pt x="102" y="138"/>
                  </a:cubicBezTo>
                  <a:cubicBezTo>
                    <a:pt x="102" y="137"/>
                    <a:pt x="102" y="137"/>
                    <a:pt x="102" y="136"/>
                  </a:cubicBezTo>
                  <a:cubicBezTo>
                    <a:pt x="102" y="135"/>
                    <a:pt x="103" y="134"/>
                    <a:pt x="104" y="133"/>
                  </a:cubicBezTo>
                  <a:cubicBezTo>
                    <a:pt x="105" y="131"/>
                    <a:pt x="105" y="125"/>
                    <a:pt x="105" y="124"/>
                  </a:cubicBezTo>
                  <a:lnTo>
                    <a:pt x="105" y="88"/>
                  </a:lnTo>
                  <a:lnTo>
                    <a:pt x="62" y="7"/>
                  </a:lnTo>
                  <a:cubicBezTo>
                    <a:pt x="60" y="4"/>
                    <a:pt x="64" y="5"/>
                    <a:pt x="64" y="5"/>
                  </a:cubicBezTo>
                  <a:cubicBezTo>
                    <a:pt x="67" y="5"/>
                    <a:pt x="65" y="2"/>
                    <a:pt x="70" y="3"/>
                  </a:cubicBezTo>
                  <a:cubicBezTo>
                    <a:pt x="70" y="2"/>
                    <a:pt x="71" y="0"/>
                    <a:pt x="72" y="0"/>
                  </a:cubicBezTo>
                  <a:cubicBezTo>
                    <a:pt x="74" y="0"/>
                    <a:pt x="77" y="3"/>
                    <a:pt x="78" y="3"/>
                  </a:cubicBezTo>
                  <a:cubicBezTo>
                    <a:pt x="79" y="3"/>
                    <a:pt x="80" y="2"/>
                    <a:pt x="81" y="2"/>
                  </a:cubicBezTo>
                  <a:cubicBezTo>
                    <a:pt x="82" y="2"/>
                    <a:pt x="83" y="3"/>
                    <a:pt x="84" y="3"/>
                  </a:cubicBezTo>
                  <a:cubicBezTo>
                    <a:pt x="88" y="4"/>
                    <a:pt x="89" y="3"/>
                    <a:pt x="91" y="3"/>
                  </a:cubicBezTo>
                  <a:cubicBezTo>
                    <a:pt x="102" y="5"/>
                    <a:pt x="100" y="0"/>
                    <a:pt x="106" y="0"/>
                  </a:cubicBezTo>
                  <a:cubicBezTo>
                    <a:pt x="112" y="0"/>
                    <a:pt x="112" y="3"/>
                    <a:pt x="116" y="4"/>
                  </a:cubicBezTo>
                  <a:cubicBezTo>
                    <a:pt x="120" y="5"/>
                    <a:pt x="127" y="5"/>
                    <a:pt x="129" y="8"/>
                  </a:cubicBezTo>
                  <a:cubicBezTo>
                    <a:pt x="132" y="11"/>
                    <a:pt x="135" y="10"/>
                    <a:pt x="139" y="12"/>
                  </a:cubicBezTo>
                  <a:cubicBezTo>
                    <a:pt x="143" y="15"/>
                    <a:pt x="145" y="21"/>
                    <a:pt x="149" y="24"/>
                  </a:cubicBezTo>
                  <a:cubicBezTo>
                    <a:pt x="153" y="27"/>
                    <a:pt x="151" y="30"/>
                    <a:pt x="151" y="33"/>
                  </a:cubicBezTo>
                  <a:cubicBezTo>
                    <a:pt x="152" y="37"/>
                    <a:pt x="154" y="37"/>
                    <a:pt x="157" y="39"/>
                  </a:cubicBezTo>
                  <a:cubicBezTo>
                    <a:pt x="159" y="42"/>
                    <a:pt x="162" y="41"/>
                    <a:pt x="164" y="43"/>
                  </a:cubicBezTo>
                  <a:cubicBezTo>
                    <a:pt x="166" y="46"/>
                    <a:pt x="166" y="49"/>
                    <a:pt x="167" y="53"/>
                  </a:cubicBezTo>
                  <a:cubicBezTo>
                    <a:pt x="167" y="57"/>
                    <a:pt x="170" y="57"/>
                    <a:pt x="171" y="61"/>
                  </a:cubicBezTo>
                  <a:cubicBezTo>
                    <a:pt x="172" y="65"/>
                    <a:pt x="173" y="68"/>
                    <a:pt x="173" y="71"/>
                  </a:cubicBezTo>
                  <a:cubicBezTo>
                    <a:pt x="174" y="79"/>
                    <a:pt x="176" y="78"/>
                    <a:pt x="177" y="81"/>
                  </a:cubicBezTo>
                  <a:cubicBezTo>
                    <a:pt x="178" y="85"/>
                    <a:pt x="177" y="84"/>
                    <a:pt x="178" y="87"/>
                  </a:cubicBezTo>
                  <a:cubicBezTo>
                    <a:pt x="179" y="92"/>
                    <a:pt x="182" y="93"/>
                    <a:pt x="182" y="97"/>
                  </a:cubicBezTo>
                  <a:cubicBezTo>
                    <a:pt x="183" y="100"/>
                    <a:pt x="181" y="106"/>
                    <a:pt x="183" y="107"/>
                  </a:cubicBezTo>
                  <a:lnTo>
                    <a:pt x="183" y="115"/>
                  </a:lnTo>
                  <a:cubicBezTo>
                    <a:pt x="188" y="123"/>
                    <a:pt x="191" y="123"/>
                    <a:pt x="191" y="135"/>
                  </a:cubicBezTo>
                  <a:cubicBezTo>
                    <a:pt x="191" y="137"/>
                    <a:pt x="192" y="145"/>
                    <a:pt x="192" y="145"/>
                  </a:cubicBezTo>
                  <a:cubicBezTo>
                    <a:pt x="192" y="149"/>
                    <a:pt x="193" y="157"/>
                    <a:pt x="195" y="161"/>
                  </a:cubicBezTo>
                  <a:lnTo>
                    <a:pt x="252" y="132"/>
                  </a:lnTo>
                  <a:lnTo>
                    <a:pt x="293" y="129"/>
                  </a:lnTo>
                  <a:lnTo>
                    <a:pt x="293" y="132"/>
                  </a:lnTo>
                  <a:cubicBezTo>
                    <a:pt x="290" y="135"/>
                    <a:pt x="286" y="139"/>
                    <a:pt x="286" y="141"/>
                  </a:cubicBezTo>
                  <a:cubicBezTo>
                    <a:pt x="285" y="142"/>
                    <a:pt x="285" y="142"/>
                    <a:pt x="285" y="143"/>
                  </a:cubicBezTo>
                  <a:cubicBezTo>
                    <a:pt x="285" y="144"/>
                    <a:pt x="284" y="143"/>
                    <a:pt x="284" y="144"/>
                  </a:cubicBezTo>
                  <a:cubicBezTo>
                    <a:pt x="283" y="145"/>
                    <a:pt x="280" y="148"/>
                    <a:pt x="279" y="149"/>
                  </a:cubicBezTo>
                  <a:cubicBezTo>
                    <a:pt x="279" y="149"/>
                    <a:pt x="277" y="152"/>
                    <a:pt x="275" y="154"/>
                  </a:cubicBezTo>
                  <a:cubicBezTo>
                    <a:pt x="273" y="155"/>
                    <a:pt x="271" y="154"/>
                    <a:pt x="270" y="154"/>
                  </a:cubicBezTo>
                  <a:cubicBezTo>
                    <a:pt x="270" y="154"/>
                    <a:pt x="270" y="152"/>
                    <a:pt x="269" y="152"/>
                  </a:cubicBezTo>
                  <a:cubicBezTo>
                    <a:pt x="268" y="152"/>
                    <a:pt x="267" y="152"/>
                    <a:pt x="267" y="153"/>
                  </a:cubicBezTo>
                  <a:cubicBezTo>
                    <a:pt x="267" y="155"/>
                    <a:pt x="267" y="157"/>
                    <a:pt x="265" y="157"/>
                  </a:cubicBezTo>
                  <a:cubicBezTo>
                    <a:pt x="263" y="157"/>
                    <a:pt x="263" y="156"/>
                    <a:pt x="262" y="156"/>
                  </a:cubicBezTo>
                  <a:cubicBezTo>
                    <a:pt x="261" y="156"/>
                    <a:pt x="259" y="156"/>
                    <a:pt x="258" y="157"/>
                  </a:cubicBezTo>
                  <a:cubicBezTo>
                    <a:pt x="257" y="159"/>
                    <a:pt x="255" y="161"/>
                    <a:pt x="254" y="160"/>
                  </a:cubicBezTo>
                  <a:cubicBezTo>
                    <a:pt x="252" y="160"/>
                    <a:pt x="251" y="160"/>
                    <a:pt x="251" y="157"/>
                  </a:cubicBezTo>
                  <a:cubicBezTo>
                    <a:pt x="251" y="154"/>
                    <a:pt x="252" y="153"/>
                    <a:pt x="252" y="152"/>
                  </a:cubicBezTo>
                  <a:cubicBezTo>
                    <a:pt x="252" y="151"/>
                    <a:pt x="251" y="149"/>
                    <a:pt x="251" y="151"/>
                  </a:cubicBezTo>
                  <a:cubicBezTo>
                    <a:pt x="250" y="153"/>
                    <a:pt x="250" y="154"/>
                    <a:pt x="250" y="157"/>
                  </a:cubicBezTo>
                  <a:cubicBezTo>
                    <a:pt x="250" y="159"/>
                    <a:pt x="249" y="159"/>
                    <a:pt x="250" y="160"/>
                  </a:cubicBezTo>
                  <a:cubicBezTo>
                    <a:pt x="251" y="160"/>
                    <a:pt x="251" y="162"/>
                    <a:pt x="250" y="163"/>
                  </a:cubicBezTo>
                  <a:cubicBezTo>
                    <a:pt x="249" y="163"/>
                    <a:pt x="247" y="164"/>
                    <a:pt x="247" y="161"/>
                  </a:cubicBezTo>
                  <a:cubicBezTo>
                    <a:pt x="246" y="158"/>
                    <a:pt x="246" y="157"/>
                    <a:pt x="245" y="156"/>
                  </a:cubicBezTo>
                  <a:cubicBezTo>
                    <a:pt x="244" y="155"/>
                    <a:pt x="243" y="155"/>
                    <a:pt x="242" y="156"/>
                  </a:cubicBezTo>
                  <a:cubicBezTo>
                    <a:pt x="242" y="157"/>
                    <a:pt x="242" y="158"/>
                    <a:pt x="243" y="159"/>
                  </a:cubicBezTo>
                  <a:cubicBezTo>
                    <a:pt x="244" y="159"/>
                    <a:pt x="245" y="159"/>
                    <a:pt x="244" y="161"/>
                  </a:cubicBezTo>
                  <a:cubicBezTo>
                    <a:pt x="244" y="162"/>
                    <a:pt x="244" y="162"/>
                    <a:pt x="245" y="163"/>
                  </a:cubicBezTo>
                  <a:cubicBezTo>
                    <a:pt x="246" y="164"/>
                    <a:pt x="246" y="164"/>
                    <a:pt x="246" y="166"/>
                  </a:cubicBezTo>
                  <a:cubicBezTo>
                    <a:pt x="246" y="167"/>
                    <a:pt x="246" y="167"/>
                    <a:pt x="246" y="169"/>
                  </a:cubicBezTo>
                  <a:cubicBezTo>
                    <a:pt x="247" y="171"/>
                    <a:pt x="246" y="172"/>
                    <a:pt x="246" y="173"/>
                  </a:cubicBezTo>
                  <a:cubicBezTo>
                    <a:pt x="247" y="174"/>
                    <a:pt x="249" y="173"/>
                    <a:pt x="250" y="174"/>
                  </a:cubicBezTo>
                  <a:cubicBezTo>
                    <a:pt x="251" y="176"/>
                    <a:pt x="251" y="178"/>
                    <a:pt x="250" y="180"/>
                  </a:cubicBezTo>
                  <a:cubicBezTo>
                    <a:pt x="249" y="181"/>
                    <a:pt x="249" y="182"/>
                    <a:pt x="247" y="182"/>
                  </a:cubicBezTo>
                  <a:cubicBezTo>
                    <a:pt x="246" y="182"/>
                    <a:pt x="245" y="181"/>
                    <a:pt x="247" y="180"/>
                  </a:cubicBezTo>
                  <a:cubicBezTo>
                    <a:pt x="248" y="180"/>
                    <a:pt x="249" y="179"/>
                    <a:pt x="247" y="178"/>
                  </a:cubicBezTo>
                  <a:cubicBezTo>
                    <a:pt x="245" y="178"/>
                    <a:pt x="245" y="177"/>
                    <a:pt x="245" y="176"/>
                  </a:cubicBezTo>
                  <a:cubicBezTo>
                    <a:pt x="244" y="174"/>
                    <a:pt x="243" y="174"/>
                    <a:pt x="243" y="175"/>
                  </a:cubicBezTo>
                  <a:cubicBezTo>
                    <a:pt x="242" y="176"/>
                    <a:pt x="243" y="176"/>
                    <a:pt x="244" y="177"/>
                  </a:cubicBezTo>
                  <a:cubicBezTo>
                    <a:pt x="245" y="178"/>
                    <a:pt x="246" y="179"/>
                    <a:pt x="245" y="180"/>
                  </a:cubicBezTo>
                  <a:cubicBezTo>
                    <a:pt x="244" y="181"/>
                    <a:pt x="243" y="179"/>
                    <a:pt x="242" y="181"/>
                  </a:cubicBezTo>
                  <a:cubicBezTo>
                    <a:pt x="241" y="182"/>
                    <a:pt x="241" y="183"/>
                    <a:pt x="240" y="182"/>
                  </a:cubicBezTo>
                  <a:cubicBezTo>
                    <a:pt x="239" y="182"/>
                    <a:pt x="238" y="181"/>
                    <a:pt x="239" y="180"/>
                  </a:cubicBezTo>
                  <a:cubicBezTo>
                    <a:pt x="239" y="179"/>
                    <a:pt x="237" y="179"/>
                    <a:pt x="237" y="180"/>
                  </a:cubicBezTo>
                  <a:cubicBezTo>
                    <a:pt x="236" y="181"/>
                    <a:pt x="236" y="184"/>
                    <a:pt x="237" y="184"/>
                  </a:cubicBezTo>
                  <a:cubicBezTo>
                    <a:pt x="238" y="185"/>
                    <a:pt x="241" y="185"/>
                    <a:pt x="240" y="187"/>
                  </a:cubicBezTo>
                  <a:cubicBezTo>
                    <a:pt x="238" y="189"/>
                    <a:pt x="239" y="189"/>
                    <a:pt x="237" y="190"/>
                  </a:cubicBezTo>
                  <a:cubicBezTo>
                    <a:pt x="236" y="192"/>
                    <a:pt x="236" y="193"/>
                    <a:pt x="235" y="193"/>
                  </a:cubicBezTo>
                  <a:cubicBezTo>
                    <a:pt x="233" y="193"/>
                    <a:pt x="232" y="194"/>
                    <a:pt x="230" y="196"/>
                  </a:cubicBezTo>
                  <a:cubicBezTo>
                    <a:pt x="229" y="197"/>
                    <a:pt x="227" y="201"/>
                    <a:pt x="225" y="201"/>
                  </a:cubicBezTo>
                  <a:cubicBezTo>
                    <a:pt x="224" y="201"/>
                    <a:pt x="222" y="202"/>
                    <a:pt x="220" y="200"/>
                  </a:cubicBezTo>
                  <a:cubicBezTo>
                    <a:pt x="218" y="198"/>
                    <a:pt x="217" y="198"/>
                    <a:pt x="213" y="200"/>
                  </a:cubicBezTo>
                  <a:cubicBezTo>
                    <a:pt x="210" y="201"/>
                    <a:pt x="199" y="205"/>
                    <a:pt x="195" y="211"/>
                  </a:cubicBezTo>
                  <a:cubicBezTo>
                    <a:pt x="193" y="215"/>
                    <a:pt x="191" y="218"/>
                    <a:pt x="191" y="219"/>
                  </a:cubicBezTo>
                  <a:cubicBezTo>
                    <a:pt x="192" y="221"/>
                    <a:pt x="192" y="220"/>
                    <a:pt x="192" y="222"/>
                  </a:cubicBezTo>
                  <a:cubicBezTo>
                    <a:pt x="192" y="224"/>
                    <a:pt x="192" y="225"/>
                    <a:pt x="191" y="226"/>
                  </a:cubicBezTo>
                  <a:cubicBezTo>
                    <a:pt x="191" y="227"/>
                    <a:pt x="190" y="229"/>
                    <a:pt x="191" y="230"/>
                  </a:cubicBezTo>
                  <a:cubicBezTo>
                    <a:pt x="192" y="232"/>
                    <a:pt x="192" y="232"/>
                    <a:pt x="192" y="233"/>
                  </a:cubicBezTo>
                  <a:cubicBezTo>
                    <a:pt x="192" y="234"/>
                    <a:pt x="191" y="235"/>
                    <a:pt x="193" y="235"/>
                  </a:cubicBezTo>
                  <a:cubicBezTo>
                    <a:pt x="194" y="235"/>
                    <a:pt x="196" y="234"/>
                    <a:pt x="195" y="235"/>
                  </a:cubicBezTo>
                  <a:cubicBezTo>
                    <a:pt x="194" y="237"/>
                    <a:pt x="192" y="239"/>
                    <a:pt x="191" y="240"/>
                  </a:cubicBezTo>
                  <a:cubicBezTo>
                    <a:pt x="191" y="242"/>
                    <a:pt x="191" y="243"/>
                    <a:pt x="191" y="245"/>
                  </a:cubicBezTo>
                  <a:cubicBezTo>
                    <a:pt x="191" y="247"/>
                    <a:pt x="190" y="247"/>
                    <a:pt x="189" y="248"/>
                  </a:cubicBezTo>
                  <a:cubicBezTo>
                    <a:pt x="188" y="249"/>
                    <a:pt x="187" y="250"/>
                    <a:pt x="188" y="251"/>
                  </a:cubicBezTo>
                  <a:cubicBezTo>
                    <a:pt x="188" y="253"/>
                    <a:pt x="189" y="252"/>
                    <a:pt x="189" y="253"/>
                  </a:cubicBezTo>
                  <a:cubicBezTo>
                    <a:pt x="189" y="255"/>
                    <a:pt x="189" y="256"/>
                    <a:pt x="188" y="258"/>
                  </a:cubicBezTo>
                  <a:cubicBezTo>
                    <a:pt x="186" y="259"/>
                    <a:pt x="187" y="260"/>
                    <a:pt x="185" y="260"/>
                  </a:cubicBezTo>
                  <a:cubicBezTo>
                    <a:pt x="183" y="261"/>
                    <a:pt x="182" y="261"/>
                    <a:pt x="180" y="264"/>
                  </a:cubicBezTo>
                  <a:cubicBezTo>
                    <a:pt x="177" y="267"/>
                    <a:pt x="178" y="265"/>
                    <a:pt x="178" y="263"/>
                  </a:cubicBezTo>
                  <a:cubicBezTo>
                    <a:pt x="177" y="261"/>
                    <a:pt x="176" y="261"/>
                    <a:pt x="176" y="262"/>
                  </a:cubicBezTo>
                  <a:cubicBezTo>
                    <a:pt x="175" y="263"/>
                    <a:pt x="175" y="262"/>
                    <a:pt x="176" y="264"/>
                  </a:cubicBezTo>
                  <a:cubicBezTo>
                    <a:pt x="176" y="266"/>
                    <a:pt x="177" y="266"/>
                    <a:pt x="176" y="268"/>
                  </a:cubicBezTo>
                  <a:cubicBezTo>
                    <a:pt x="175" y="270"/>
                    <a:pt x="175" y="270"/>
                    <a:pt x="174" y="272"/>
                  </a:cubicBezTo>
                  <a:cubicBezTo>
                    <a:pt x="173" y="274"/>
                    <a:pt x="172" y="277"/>
                    <a:pt x="171" y="279"/>
                  </a:cubicBezTo>
                  <a:cubicBezTo>
                    <a:pt x="170" y="282"/>
                    <a:pt x="171" y="283"/>
                    <a:pt x="170" y="284"/>
                  </a:cubicBezTo>
                  <a:cubicBezTo>
                    <a:pt x="169" y="286"/>
                    <a:pt x="168" y="285"/>
                    <a:pt x="167" y="284"/>
                  </a:cubicBezTo>
                  <a:cubicBezTo>
                    <a:pt x="166" y="284"/>
                    <a:pt x="165" y="282"/>
                    <a:pt x="164" y="282"/>
                  </a:cubicBezTo>
                  <a:cubicBezTo>
                    <a:pt x="163" y="282"/>
                    <a:pt x="162" y="282"/>
                    <a:pt x="162" y="283"/>
                  </a:cubicBezTo>
                  <a:cubicBezTo>
                    <a:pt x="162" y="284"/>
                    <a:pt x="162" y="284"/>
                    <a:pt x="163" y="284"/>
                  </a:cubicBezTo>
                  <a:cubicBezTo>
                    <a:pt x="165" y="284"/>
                    <a:pt x="165" y="285"/>
                    <a:pt x="164" y="286"/>
                  </a:cubicBezTo>
                  <a:cubicBezTo>
                    <a:pt x="164" y="287"/>
                    <a:pt x="165" y="287"/>
                    <a:pt x="166" y="286"/>
                  </a:cubicBezTo>
                  <a:cubicBezTo>
                    <a:pt x="167" y="286"/>
                    <a:pt x="169" y="285"/>
                    <a:pt x="169" y="287"/>
                  </a:cubicBezTo>
                  <a:cubicBezTo>
                    <a:pt x="169" y="288"/>
                    <a:pt x="170" y="291"/>
                    <a:pt x="169" y="293"/>
                  </a:cubicBezTo>
                  <a:cubicBezTo>
                    <a:pt x="167" y="296"/>
                    <a:pt x="165" y="305"/>
                    <a:pt x="164" y="307"/>
                  </a:cubicBezTo>
                  <a:cubicBezTo>
                    <a:pt x="162" y="309"/>
                    <a:pt x="163" y="311"/>
                    <a:pt x="161" y="311"/>
                  </a:cubicBezTo>
                  <a:cubicBezTo>
                    <a:pt x="158" y="311"/>
                    <a:pt x="159" y="311"/>
                    <a:pt x="158" y="310"/>
                  </a:cubicBezTo>
                  <a:cubicBezTo>
                    <a:pt x="157" y="309"/>
                    <a:pt x="158" y="306"/>
                    <a:pt x="156" y="307"/>
                  </a:cubicBezTo>
                  <a:cubicBezTo>
                    <a:pt x="155" y="308"/>
                    <a:pt x="155" y="309"/>
                    <a:pt x="155" y="310"/>
                  </a:cubicBezTo>
                  <a:cubicBezTo>
                    <a:pt x="156" y="311"/>
                    <a:pt x="156" y="312"/>
                    <a:pt x="157" y="312"/>
                  </a:cubicBezTo>
                  <a:cubicBezTo>
                    <a:pt x="158" y="312"/>
                    <a:pt x="159" y="311"/>
                    <a:pt x="159" y="313"/>
                  </a:cubicBezTo>
                  <a:cubicBezTo>
                    <a:pt x="159" y="315"/>
                    <a:pt x="159" y="315"/>
                    <a:pt x="158" y="317"/>
                  </a:cubicBezTo>
                  <a:cubicBezTo>
                    <a:pt x="157" y="318"/>
                    <a:pt x="157" y="319"/>
                    <a:pt x="156" y="319"/>
                  </a:cubicBezTo>
                  <a:cubicBezTo>
                    <a:pt x="154" y="319"/>
                    <a:pt x="153" y="318"/>
                    <a:pt x="153" y="317"/>
                  </a:cubicBezTo>
                  <a:cubicBezTo>
                    <a:pt x="154" y="316"/>
                    <a:pt x="154" y="314"/>
                    <a:pt x="152" y="314"/>
                  </a:cubicBezTo>
                  <a:cubicBezTo>
                    <a:pt x="150" y="313"/>
                    <a:pt x="149" y="314"/>
                    <a:pt x="149" y="314"/>
                  </a:cubicBezTo>
                  <a:cubicBezTo>
                    <a:pt x="150" y="315"/>
                    <a:pt x="150" y="315"/>
                    <a:pt x="151" y="315"/>
                  </a:cubicBezTo>
                  <a:cubicBezTo>
                    <a:pt x="153" y="314"/>
                    <a:pt x="152" y="316"/>
                    <a:pt x="152" y="317"/>
                  </a:cubicBezTo>
                  <a:cubicBezTo>
                    <a:pt x="152" y="318"/>
                    <a:pt x="151" y="318"/>
                    <a:pt x="150" y="318"/>
                  </a:cubicBezTo>
                  <a:cubicBezTo>
                    <a:pt x="148" y="318"/>
                    <a:pt x="147" y="317"/>
                    <a:pt x="147" y="319"/>
                  </a:cubicBezTo>
                  <a:cubicBezTo>
                    <a:pt x="147" y="320"/>
                    <a:pt x="147" y="320"/>
                    <a:pt x="149" y="320"/>
                  </a:cubicBezTo>
                  <a:cubicBezTo>
                    <a:pt x="151" y="320"/>
                    <a:pt x="151" y="319"/>
                    <a:pt x="153" y="320"/>
                  </a:cubicBezTo>
                  <a:cubicBezTo>
                    <a:pt x="154" y="320"/>
                    <a:pt x="155" y="321"/>
                    <a:pt x="154" y="322"/>
                  </a:cubicBezTo>
                  <a:cubicBezTo>
                    <a:pt x="154" y="323"/>
                    <a:pt x="152" y="328"/>
                    <a:pt x="151" y="329"/>
                  </a:cubicBezTo>
                  <a:cubicBezTo>
                    <a:pt x="150" y="330"/>
                    <a:pt x="149" y="335"/>
                    <a:pt x="148" y="338"/>
                  </a:cubicBezTo>
                  <a:cubicBezTo>
                    <a:pt x="147" y="341"/>
                    <a:pt x="145" y="345"/>
                    <a:pt x="145" y="347"/>
                  </a:cubicBezTo>
                  <a:cubicBezTo>
                    <a:pt x="145" y="349"/>
                    <a:pt x="145" y="349"/>
                    <a:pt x="144" y="349"/>
                  </a:cubicBezTo>
                  <a:cubicBezTo>
                    <a:pt x="143" y="349"/>
                    <a:pt x="142" y="350"/>
                    <a:pt x="142" y="351"/>
                  </a:cubicBezTo>
                  <a:cubicBezTo>
                    <a:pt x="142" y="352"/>
                    <a:pt x="142" y="353"/>
                    <a:pt x="141" y="353"/>
                  </a:cubicBezTo>
                  <a:cubicBezTo>
                    <a:pt x="140" y="354"/>
                    <a:pt x="140" y="355"/>
                    <a:pt x="140" y="357"/>
                  </a:cubicBezTo>
                  <a:cubicBezTo>
                    <a:pt x="140" y="359"/>
                    <a:pt x="140" y="359"/>
                    <a:pt x="139" y="360"/>
                  </a:cubicBezTo>
                  <a:cubicBezTo>
                    <a:pt x="138" y="361"/>
                    <a:pt x="137" y="361"/>
                    <a:pt x="137" y="359"/>
                  </a:cubicBezTo>
                  <a:cubicBezTo>
                    <a:pt x="137" y="358"/>
                    <a:pt x="137" y="356"/>
                    <a:pt x="136" y="357"/>
                  </a:cubicBezTo>
                  <a:cubicBezTo>
                    <a:pt x="136" y="358"/>
                    <a:pt x="136" y="360"/>
                    <a:pt x="135" y="360"/>
                  </a:cubicBezTo>
                  <a:cubicBezTo>
                    <a:pt x="134" y="360"/>
                    <a:pt x="133" y="361"/>
                    <a:pt x="134" y="362"/>
                  </a:cubicBezTo>
                  <a:cubicBezTo>
                    <a:pt x="135" y="363"/>
                    <a:pt x="134" y="362"/>
                    <a:pt x="135" y="363"/>
                  </a:cubicBezTo>
                  <a:cubicBezTo>
                    <a:pt x="135" y="365"/>
                    <a:pt x="135" y="365"/>
                    <a:pt x="133" y="366"/>
                  </a:cubicBezTo>
                  <a:cubicBezTo>
                    <a:pt x="132" y="366"/>
                    <a:pt x="129" y="366"/>
                    <a:pt x="129" y="366"/>
                  </a:cubicBezTo>
                  <a:cubicBezTo>
                    <a:pt x="128" y="365"/>
                    <a:pt x="127" y="365"/>
                    <a:pt x="128" y="364"/>
                  </a:cubicBezTo>
                  <a:cubicBezTo>
                    <a:pt x="128" y="363"/>
                    <a:pt x="127" y="363"/>
                    <a:pt x="125" y="363"/>
                  </a:cubicBezTo>
                  <a:cubicBezTo>
                    <a:pt x="124" y="364"/>
                    <a:pt x="123" y="364"/>
                    <a:pt x="122" y="365"/>
                  </a:cubicBezTo>
                  <a:cubicBezTo>
                    <a:pt x="122" y="366"/>
                    <a:pt x="123" y="367"/>
                    <a:pt x="121" y="368"/>
                  </a:cubicBezTo>
                  <a:cubicBezTo>
                    <a:pt x="121" y="368"/>
                    <a:pt x="118" y="367"/>
                    <a:pt x="119" y="368"/>
                  </a:cubicBezTo>
                  <a:lnTo>
                    <a:pt x="14" y="287"/>
                  </a:lnTo>
                  <a:cubicBezTo>
                    <a:pt x="11" y="284"/>
                    <a:pt x="13" y="282"/>
                    <a:pt x="11" y="279"/>
                  </a:cubicBezTo>
                  <a:cubicBezTo>
                    <a:pt x="8" y="277"/>
                    <a:pt x="3" y="278"/>
                    <a:pt x="2" y="277"/>
                  </a:cubicBezTo>
                  <a:cubicBezTo>
                    <a:pt x="1" y="276"/>
                    <a:pt x="1" y="276"/>
                    <a:pt x="2" y="274"/>
                  </a:cubicBezTo>
                  <a:cubicBezTo>
                    <a:pt x="2" y="274"/>
                    <a:pt x="3" y="275"/>
                    <a:pt x="3" y="273"/>
                  </a:cubicBezTo>
                  <a:cubicBezTo>
                    <a:pt x="1" y="272"/>
                    <a:pt x="0" y="271"/>
                    <a:pt x="0" y="270"/>
                  </a:cubicBezTo>
                  <a:cubicBezTo>
                    <a:pt x="0" y="268"/>
                    <a:pt x="7" y="263"/>
                    <a:pt x="9" y="261"/>
                  </a:cubicBezTo>
                  <a:lnTo>
                    <a:pt x="7" y="250"/>
                  </a:lnTo>
                  <a:cubicBezTo>
                    <a:pt x="10" y="250"/>
                    <a:pt x="12" y="249"/>
                    <a:pt x="18" y="249"/>
                  </a:cubicBezTo>
                  <a:cubicBezTo>
                    <a:pt x="21" y="251"/>
                    <a:pt x="20" y="244"/>
                    <a:pt x="20" y="241"/>
                  </a:cubicBezTo>
                  <a:cubicBezTo>
                    <a:pt x="21" y="233"/>
                    <a:pt x="22" y="230"/>
                    <a:pt x="24" y="225"/>
                  </a:cubicBezTo>
                  <a:cubicBezTo>
                    <a:pt x="24" y="223"/>
                    <a:pt x="25" y="221"/>
                    <a:pt x="25" y="219"/>
                  </a:cubicBezTo>
                </a:path>
              </a:pathLst>
            </a:custGeom>
            <a:grpFill/>
            <a:ln w="0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1364" y="2360"/>
              <a:ext cx="39" cy="29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gray">
            <a:xfrm>
              <a:off x="1423" y="2330"/>
              <a:ext cx="39" cy="35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1364" y="2360"/>
              <a:ext cx="39" cy="29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gray">
            <a:xfrm>
              <a:off x="1423" y="2330"/>
              <a:ext cx="39" cy="35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3079" y="516"/>
              <a:ext cx="1164" cy="2475"/>
            </a:xfrm>
            <a:custGeom>
              <a:avLst/>
              <a:gdLst>
                <a:gd name="T0" fmla="*/ 242 w 236"/>
                <a:gd name="T1" fmla="*/ 325 h 502"/>
                <a:gd name="T2" fmla="*/ 316 w 236"/>
                <a:gd name="T3" fmla="*/ 355 h 502"/>
                <a:gd name="T4" fmla="*/ 380 w 236"/>
                <a:gd name="T5" fmla="*/ 271 h 502"/>
                <a:gd name="T6" fmla="*/ 552 w 236"/>
                <a:gd name="T7" fmla="*/ 113 h 502"/>
                <a:gd name="T8" fmla="*/ 676 w 236"/>
                <a:gd name="T9" fmla="*/ 49 h 502"/>
                <a:gd name="T10" fmla="*/ 779 w 236"/>
                <a:gd name="T11" fmla="*/ 20 h 502"/>
                <a:gd name="T12" fmla="*/ 838 w 236"/>
                <a:gd name="T13" fmla="*/ 69 h 502"/>
                <a:gd name="T14" fmla="*/ 947 w 236"/>
                <a:gd name="T15" fmla="*/ 138 h 502"/>
                <a:gd name="T16" fmla="*/ 1070 w 236"/>
                <a:gd name="T17" fmla="*/ 123 h 502"/>
                <a:gd name="T18" fmla="*/ 1115 w 236"/>
                <a:gd name="T19" fmla="*/ 123 h 502"/>
                <a:gd name="T20" fmla="*/ 1164 w 236"/>
                <a:gd name="T21" fmla="*/ 143 h 502"/>
                <a:gd name="T22" fmla="*/ 848 w 236"/>
                <a:gd name="T23" fmla="*/ 572 h 502"/>
                <a:gd name="T24" fmla="*/ 848 w 236"/>
                <a:gd name="T25" fmla="*/ 2016 h 502"/>
                <a:gd name="T26" fmla="*/ 1055 w 236"/>
                <a:gd name="T27" fmla="*/ 2317 h 502"/>
                <a:gd name="T28" fmla="*/ 572 w 236"/>
                <a:gd name="T29" fmla="*/ 2475 h 502"/>
                <a:gd name="T30" fmla="*/ 557 w 236"/>
                <a:gd name="T31" fmla="*/ 2396 h 502"/>
                <a:gd name="T32" fmla="*/ 513 w 236"/>
                <a:gd name="T33" fmla="*/ 2248 h 502"/>
                <a:gd name="T34" fmla="*/ 513 w 236"/>
                <a:gd name="T35" fmla="*/ 2209 h 502"/>
                <a:gd name="T36" fmla="*/ 508 w 236"/>
                <a:gd name="T37" fmla="*/ 2159 h 502"/>
                <a:gd name="T38" fmla="*/ 483 w 236"/>
                <a:gd name="T39" fmla="*/ 2081 h 502"/>
                <a:gd name="T40" fmla="*/ 454 w 236"/>
                <a:gd name="T41" fmla="*/ 1982 h 502"/>
                <a:gd name="T42" fmla="*/ 419 w 236"/>
                <a:gd name="T43" fmla="*/ 1893 h 502"/>
                <a:gd name="T44" fmla="*/ 355 w 236"/>
                <a:gd name="T45" fmla="*/ 1844 h 502"/>
                <a:gd name="T46" fmla="*/ 296 w 236"/>
                <a:gd name="T47" fmla="*/ 1740 h 502"/>
                <a:gd name="T48" fmla="*/ 182 w 236"/>
                <a:gd name="T49" fmla="*/ 1701 h 502"/>
                <a:gd name="T50" fmla="*/ 59 w 236"/>
                <a:gd name="T51" fmla="*/ 1696 h 502"/>
                <a:gd name="T52" fmla="*/ 35 w 236"/>
                <a:gd name="T53" fmla="*/ 1681 h 502"/>
                <a:gd name="T54" fmla="*/ 30 w 236"/>
                <a:gd name="T55" fmla="*/ 1617 h 502"/>
                <a:gd name="T56" fmla="*/ 35 w 236"/>
                <a:gd name="T57" fmla="*/ 1592 h 502"/>
                <a:gd name="T58" fmla="*/ 15 w 236"/>
                <a:gd name="T59" fmla="*/ 1514 h 502"/>
                <a:gd name="T60" fmla="*/ 39 w 236"/>
                <a:gd name="T61" fmla="*/ 1474 h 502"/>
                <a:gd name="T62" fmla="*/ 113 w 236"/>
                <a:gd name="T63" fmla="*/ 1430 h 502"/>
                <a:gd name="T64" fmla="*/ 217 w 236"/>
                <a:gd name="T65" fmla="*/ 1336 h 502"/>
                <a:gd name="T66" fmla="*/ 286 w 236"/>
                <a:gd name="T67" fmla="*/ 1292 h 502"/>
                <a:gd name="T68" fmla="*/ 217 w 236"/>
                <a:gd name="T69" fmla="*/ 1104 h 502"/>
                <a:gd name="T70" fmla="*/ 286 w 236"/>
                <a:gd name="T71" fmla="*/ 1075 h 502"/>
                <a:gd name="T72" fmla="*/ 187 w 236"/>
                <a:gd name="T73" fmla="*/ 1001 h 502"/>
                <a:gd name="T74" fmla="*/ 133 w 236"/>
                <a:gd name="T75" fmla="*/ 912 h 502"/>
                <a:gd name="T76" fmla="*/ 94 w 236"/>
                <a:gd name="T77" fmla="*/ 784 h 502"/>
                <a:gd name="T78" fmla="*/ 74 w 236"/>
                <a:gd name="T79" fmla="*/ 710 h 502"/>
                <a:gd name="T80" fmla="*/ 74 w 236"/>
                <a:gd name="T81" fmla="*/ 690 h 502"/>
                <a:gd name="T82" fmla="*/ 109 w 236"/>
                <a:gd name="T83" fmla="*/ 675 h 502"/>
                <a:gd name="T84" fmla="*/ 113 w 236"/>
                <a:gd name="T85" fmla="*/ 641 h 502"/>
                <a:gd name="T86" fmla="*/ 168 w 236"/>
                <a:gd name="T87" fmla="*/ 532 h 502"/>
                <a:gd name="T88" fmla="*/ 222 w 236"/>
                <a:gd name="T89" fmla="*/ 385 h 502"/>
                <a:gd name="T90" fmla="*/ 227 w 236"/>
                <a:gd name="T91" fmla="*/ 325 h 502"/>
                <a:gd name="T92" fmla="*/ 227 w 236"/>
                <a:gd name="T93" fmla="*/ 325 h 5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6"/>
                <a:gd name="T142" fmla="*/ 0 h 502"/>
                <a:gd name="T143" fmla="*/ 236 w 236"/>
                <a:gd name="T144" fmla="*/ 502 h 5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6" h="502">
                  <a:moveTo>
                    <a:pt x="46" y="66"/>
                  </a:moveTo>
                  <a:cubicBezTo>
                    <a:pt x="47" y="66"/>
                    <a:pt x="48" y="66"/>
                    <a:pt x="49" y="66"/>
                  </a:cubicBezTo>
                  <a:cubicBezTo>
                    <a:pt x="50" y="66"/>
                    <a:pt x="55" y="68"/>
                    <a:pt x="57" y="68"/>
                  </a:cubicBezTo>
                  <a:cubicBezTo>
                    <a:pt x="63" y="66"/>
                    <a:pt x="60" y="72"/>
                    <a:pt x="64" y="72"/>
                  </a:cubicBezTo>
                  <a:cubicBezTo>
                    <a:pt x="66" y="72"/>
                    <a:pt x="66" y="68"/>
                    <a:pt x="66" y="67"/>
                  </a:cubicBezTo>
                  <a:cubicBezTo>
                    <a:pt x="68" y="64"/>
                    <a:pt x="75" y="57"/>
                    <a:pt x="77" y="55"/>
                  </a:cubicBezTo>
                  <a:cubicBezTo>
                    <a:pt x="86" y="53"/>
                    <a:pt x="83" y="39"/>
                    <a:pt x="90" y="34"/>
                  </a:cubicBezTo>
                  <a:cubicBezTo>
                    <a:pt x="97" y="30"/>
                    <a:pt x="105" y="27"/>
                    <a:pt x="112" y="23"/>
                  </a:cubicBezTo>
                  <a:cubicBezTo>
                    <a:pt x="117" y="21"/>
                    <a:pt x="123" y="18"/>
                    <a:pt x="128" y="15"/>
                  </a:cubicBezTo>
                  <a:cubicBezTo>
                    <a:pt x="131" y="13"/>
                    <a:pt x="133" y="12"/>
                    <a:pt x="137" y="10"/>
                  </a:cubicBezTo>
                  <a:cubicBezTo>
                    <a:pt x="141" y="9"/>
                    <a:pt x="146" y="8"/>
                    <a:pt x="150" y="6"/>
                  </a:cubicBezTo>
                  <a:cubicBezTo>
                    <a:pt x="152" y="5"/>
                    <a:pt x="155" y="0"/>
                    <a:pt x="158" y="4"/>
                  </a:cubicBezTo>
                  <a:cubicBezTo>
                    <a:pt x="160" y="7"/>
                    <a:pt x="161" y="5"/>
                    <a:pt x="163" y="8"/>
                  </a:cubicBezTo>
                  <a:cubicBezTo>
                    <a:pt x="165" y="10"/>
                    <a:pt x="164" y="14"/>
                    <a:pt x="170" y="14"/>
                  </a:cubicBezTo>
                  <a:cubicBezTo>
                    <a:pt x="172" y="14"/>
                    <a:pt x="176" y="20"/>
                    <a:pt x="177" y="22"/>
                  </a:cubicBezTo>
                  <a:cubicBezTo>
                    <a:pt x="179" y="26"/>
                    <a:pt x="183" y="31"/>
                    <a:pt x="192" y="28"/>
                  </a:cubicBezTo>
                  <a:cubicBezTo>
                    <a:pt x="201" y="26"/>
                    <a:pt x="202" y="30"/>
                    <a:pt x="210" y="27"/>
                  </a:cubicBezTo>
                  <a:cubicBezTo>
                    <a:pt x="213" y="27"/>
                    <a:pt x="215" y="25"/>
                    <a:pt x="217" y="25"/>
                  </a:cubicBezTo>
                  <a:cubicBezTo>
                    <a:pt x="219" y="25"/>
                    <a:pt x="220" y="27"/>
                    <a:pt x="221" y="27"/>
                  </a:cubicBezTo>
                  <a:cubicBezTo>
                    <a:pt x="223" y="27"/>
                    <a:pt x="224" y="25"/>
                    <a:pt x="226" y="25"/>
                  </a:cubicBezTo>
                  <a:cubicBezTo>
                    <a:pt x="231" y="25"/>
                    <a:pt x="232" y="29"/>
                    <a:pt x="236" y="29"/>
                  </a:cubicBezTo>
                  <a:lnTo>
                    <a:pt x="198" y="89"/>
                  </a:lnTo>
                  <a:lnTo>
                    <a:pt x="172" y="116"/>
                  </a:lnTo>
                  <a:lnTo>
                    <a:pt x="172" y="302"/>
                  </a:lnTo>
                  <a:lnTo>
                    <a:pt x="172" y="409"/>
                  </a:lnTo>
                  <a:lnTo>
                    <a:pt x="214" y="467"/>
                  </a:lnTo>
                  <a:lnTo>
                    <a:pt x="214" y="470"/>
                  </a:lnTo>
                  <a:lnTo>
                    <a:pt x="173" y="473"/>
                  </a:lnTo>
                  <a:lnTo>
                    <a:pt x="116" y="502"/>
                  </a:lnTo>
                  <a:cubicBezTo>
                    <a:pt x="114" y="498"/>
                    <a:pt x="113" y="490"/>
                    <a:pt x="113" y="486"/>
                  </a:cubicBezTo>
                  <a:cubicBezTo>
                    <a:pt x="113" y="486"/>
                    <a:pt x="112" y="478"/>
                    <a:pt x="112" y="476"/>
                  </a:cubicBezTo>
                  <a:cubicBezTo>
                    <a:pt x="112" y="464"/>
                    <a:pt x="109" y="464"/>
                    <a:pt x="104" y="456"/>
                  </a:cubicBezTo>
                  <a:lnTo>
                    <a:pt x="104" y="448"/>
                  </a:lnTo>
                  <a:cubicBezTo>
                    <a:pt x="102" y="447"/>
                    <a:pt x="104" y="441"/>
                    <a:pt x="103" y="438"/>
                  </a:cubicBezTo>
                  <a:cubicBezTo>
                    <a:pt x="103" y="434"/>
                    <a:pt x="100" y="433"/>
                    <a:pt x="99" y="428"/>
                  </a:cubicBezTo>
                  <a:cubicBezTo>
                    <a:pt x="98" y="425"/>
                    <a:pt x="99" y="426"/>
                    <a:pt x="98" y="422"/>
                  </a:cubicBezTo>
                  <a:cubicBezTo>
                    <a:pt x="97" y="419"/>
                    <a:pt x="95" y="420"/>
                    <a:pt x="94" y="412"/>
                  </a:cubicBezTo>
                  <a:cubicBezTo>
                    <a:pt x="94" y="409"/>
                    <a:pt x="93" y="406"/>
                    <a:pt x="92" y="402"/>
                  </a:cubicBezTo>
                  <a:cubicBezTo>
                    <a:pt x="91" y="398"/>
                    <a:pt x="88" y="398"/>
                    <a:pt x="88" y="394"/>
                  </a:cubicBezTo>
                  <a:cubicBezTo>
                    <a:pt x="87" y="390"/>
                    <a:pt x="87" y="387"/>
                    <a:pt x="85" y="384"/>
                  </a:cubicBezTo>
                  <a:cubicBezTo>
                    <a:pt x="83" y="382"/>
                    <a:pt x="80" y="383"/>
                    <a:pt x="78" y="380"/>
                  </a:cubicBezTo>
                  <a:cubicBezTo>
                    <a:pt x="75" y="378"/>
                    <a:pt x="73" y="378"/>
                    <a:pt x="72" y="374"/>
                  </a:cubicBezTo>
                  <a:cubicBezTo>
                    <a:pt x="72" y="371"/>
                    <a:pt x="74" y="368"/>
                    <a:pt x="70" y="365"/>
                  </a:cubicBezTo>
                  <a:cubicBezTo>
                    <a:pt x="66" y="362"/>
                    <a:pt x="64" y="356"/>
                    <a:pt x="60" y="353"/>
                  </a:cubicBezTo>
                  <a:cubicBezTo>
                    <a:pt x="56" y="351"/>
                    <a:pt x="53" y="352"/>
                    <a:pt x="50" y="349"/>
                  </a:cubicBezTo>
                  <a:cubicBezTo>
                    <a:pt x="48" y="346"/>
                    <a:pt x="41" y="346"/>
                    <a:pt x="37" y="345"/>
                  </a:cubicBezTo>
                  <a:cubicBezTo>
                    <a:pt x="33" y="344"/>
                    <a:pt x="33" y="341"/>
                    <a:pt x="27" y="341"/>
                  </a:cubicBezTo>
                  <a:cubicBezTo>
                    <a:pt x="21" y="341"/>
                    <a:pt x="23" y="346"/>
                    <a:pt x="12" y="344"/>
                  </a:cubicBezTo>
                  <a:cubicBezTo>
                    <a:pt x="10" y="344"/>
                    <a:pt x="9" y="345"/>
                    <a:pt x="5" y="344"/>
                  </a:cubicBezTo>
                  <a:cubicBezTo>
                    <a:pt x="6" y="344"/>
                    <a:pt x="6" y="342"/>
                    <a:pt x="7" y="341"/>
                  </a:cubicBezTo>
                  <a:lnTo>
                    <a:pt x="6" y="328"/>
                  </a:lnTo>
                  <a:cubicBezTo>
                    <a:pt x="6" y="326"/>
                    <a:pt x="7" y="325"/>
                    <a:pt x="7" y="323"/>
                  </a:cubicBezTo>
                  <a:cubicBezTo>
                    <a:pt x="7" y="320"/>
                    <a:pt x="4" y="318"/>
                    <a:pt x="4" y="316"/>
                  </a:cubicBezTo>
                  <a:cubicBezTo>
                    <a:pt x="3" y="313"/>
                    <a:pt x="3" y="311"/>
                    <a:pt x="3" y="307"/>
                  </a:cubicBezTo>
                  <a:cubicBezTo>
                    <a:pt x="2" y="304"/>
                    <a:pt x="0" y="305"/>
                    <a:pt x="0" y="303"/>
                  </a:cubicBezTo>
                  <a:cubicBezTo>
                    <a:pt x="0" y="298"/>
                    <a:pt x="5" y="301"/>
                    <a:pt x="8" y="299"/>
                  </a:cubicBezTo>
                  <a:cubicBezTo>
                    <a:pt x="10" y="298"/>
                    <a:pt x="9" y="295"/>
                    <a:pt x="11" y="293"/>
                  </a:cubicBezTo>
                  <a:cubicBezTo>
                    <a:pt x="13" y="290"/>
                    <a:pt x="19" y="291"/>
                    <a:pt x="23" y="290"/>
                  </a:cubicBezTo>
                  <a:cubicBezTo>
                    <a:pt x="28" y="288"/>
                    <a:pt x="32" y="285"/>
                    <a:pt x="36" y="282"/>
                  </a:cubicBezTo>
                  <a:cubicBezTo>
                    <a:pt x="40" y="279"/>
                    <a:pt x="42" y="274"/>
                    <a:pt x="44" y="271"/>
                  </a:cubicBezTo>
                  <a:cubicBezTo>
                    <a:pt x="46" y="266"/>
                    <a:pt x="53" y="265"/>
                    <a:pt x="58" y="262"/>
                  </a:cubicBezTo>
                  <a:lnTo>
                    <a:pt x="47" y="231"/>
                  </a:lnTo>
                  <a:lnTo>
                    <a:pt x="44" y="224"/>
                  </a:lnTo>
                  <a:lnTo>
                    <a:pt x="58" y="218"/>
                  </a:lnTo>
                  <a:cubicBezTo>
                    <a:pt x="55" y="217"/>
                    <a:pt x="53" y="216"/>
                    <a:pt x="51" y="212"/>
                  </a:cubicBezTo>
                  <a:cubicBezTo>
                    <a:pt x="48" y="206"/>
                    <a:pt x="41" y="207"/>
                    <a:pt x="38" y="203"/>
                  </a:cubicBezTo>
                  <a:cubicBezTo>
                    <a:pt x="36" y="200"/>
                    <a:pt x="36" y="196"/>
                    <a:pt x="35" y="194"/>
                  </a:cubicBezTo>
                  <a:cubicBezTo>
                    <a:pt x="33" y="191"/>
                    <a:pt x="28" y="189"/>
                    <a:pt x="27" y="185"/>
                  </a:cubicBezTo>
                  <a:cubicBezTo>
                    <a:pt x="25" y="180"/>
                    <a:pt x="22" y="176"/>
                    <a:pt x="20" y="172"/>
                  </a:cubicBezTo>
                  <a:cubicBezTo>
                    <a:pt x="17" y="168"/>
                    <a:pt x="23" y="167"/>
                    <a:pt x="19" y="159"/>
                  </a:cubicBezTo>
                  <a:cubicBezTo>
                    <a:pt x="17" y="157"/>
                    <a:pt x="18" y="150"/>
                    <a:pt x="15" y="144"/>
                  </a:cubicBezTo>
                  <a:lnTo>
                    <a:pt x="15" y="140"/>
                  </a:lnTo>
                  <a:cubicBezTo>
                    <a:pt x="20" y="140"/>
                    <a:pt x="22" y="137"/>
                    <a:pt x="22" y="137"/>
                  </a:cubicBezTo>
                  <a:lnTo>
                    <a:pt x="23" y="130"/>
                  </a:lnTo>
                  <a:cubicBezTo>
                    <a:pt x="24" y="126"/>
                    <a:pt x="27" y="122"/>
                    <a:pt x="28" y="119"/>
                  </a:cubicBezTo>
                  <a:cubicBezTo>
                    <a:pt x="29" y="115"/>
                    <a:pt x="32" y="109"/>
                    <a:pt x="34" y="108"/>
                  </a:cubicBezTo>
                  <a:cubicBezTo>
                    <a:pt x="41" y="105"/>
                    <a:pt x="50" y="103"/>
                    <a:pt x="49" y="91"/>
                  </a:cubicBezTo>
                  <a:cubicBezTo>
                    <a:pt x="48" y="85"/>
                    <a:pt x="47" y="82"/>
                    <a:pt x="45" y="78"/>
                  </a:cubicBezTo>
                  <a:lnTo>
                    <a:pt x="46" y="66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2118" y="462"/>
              <a:ext cx="1247" cy="2918"/>
            </a:xfrm>
            <a:custGeom>
              <a:avLst/>
              <a:gdLst>
                <a:gd name="T0" fmla="*/ 596 w 253"/>
                <a:gd name="T1" fmla="*/ 2657 h 592"/>
                <a:gd name="T2" fmla="*/ 611 w 253"/>
                <a:gd name="T3" fmla="*/ 2588 h 592"/>
                <a:gd name="T4" fmla="*/ 493 w 253"/>
                <a:gd name="T5" fmla="*/ 2509 h 592"/>
                <a:gd name="T6" fmla="*/ 335 w 253"/>
                <a:gd name="T7" fmla="*/ 2292 h 592"/>
                <a:gd name="T8" fmla="*/ 330 w 253"/>
                <a:gd name="T9" fmla="*/ 2262 h 592"/>
                <a:gd name="T10" fmla="*/ 424 w 253"/>
                <a:gd name="T11" fmla="*/ 2154 h 592"/>
                <a:gd name="T12" fmla="*/ 493 w 253"/>
                <a:gd name="T13" fmla="*/ 2100 h 592"/>
                <a:gd name="T14" fmla="*/ 488 w 253"/>
                <a:gd name="T15" fmla="*/ 2036 h 592"/>
                <a:gd name="T16" fmla="*/ 453 w 253"/>
                <a:gd name="T17" fmla="*/ 1774 h 592"/>
                <a:gd name="T18" fmla="*/ 478 w 253"/>
                <a:gd name="T19" fmla="*/ 1661 h 592"/>
                <a:gd name="T20" fmla="*/ 463 w 253"/>
                <a:gd name="T21" fmla="*/ 1523 h 592"/>
                <a:gd name="T22" fmla="*/ 311 w 253"/>
                <a:gd name="T23" fmla="*/ 1494 h 592"/>
                <a:gd name="T24" fmla="*/ 394 w 253"/>
                <a:gd name="T25" fmla="*/ 1420 h 592"/>
                <a:gd name="T26" fmla="*/ 503 w 253"/>
                <a:gd name="T27" fmla="*/ 1503 h 592"/>
                <a:gd name="T28" fmla="*/ 660 w 253"/>
                <a:gd name="T29" fmla="*/ 1464 h 592"/>
                <a:gd name="T30" fmla="*/ 734 w 253"/>
                <a:gd name="T31" fmla="*/ 1424 h 592"/>
                <a:gd name="T32" fmla="*/ 705 w 253"/>
                <a:gd name="T33" fmla="*/ 1257 h 592"/>
                <a:gd name="T34" fmla="*/ 695 w 253"/>
                <a:gd name="T35" fmla="*/ 1178 h 592"/>
                <a:gd name="T36" fmla="*/ 503 w 253"/>
                <a:gd name="T37" fmla="*/ 1079 h 592"/>
                <a:gd name="T38" fmla="*/ 399 w 253"/>
                <a:gd name="T39" fmla="*/ 946 h 592"/>
                <a:gd name="T40" fmla="*/ 266 w 253"/>
                <a:gd name="T41" fmla="*/ 784 h 592"/>
                <a:gd name="T42" fmla="*/ 212 w 253"/>
                <a:gd name="T43" fmla="*/ 794 h 592"/>
                <a:gd name="T44" fmla="*/ 153 w 253"/>
                <a:gd name="T45" fmla="*/ 675 h 592"/>
                <a:gd name="T46" fmla="*/ 74 w 253"/>
                <a:gd name="T47" fmla="*/ 572 h 592"/>
                <a:gd name="T48" fmla="*/ 39 w 253"/>
                <a:gd name="T49" fmla="*/ 493 h 592"/>
                <a:gd name="T50" fmla="*/ 5 w 253"/>
                <a:gd name="T51" fmla="*/ 5 h 592"/>
                <a:gd name="T52" fmla="*/ 315 w 253"/>
                <a:gd name="T53" fmla="*/ 10 h 592"/>
                <a:gd name="T54" fmla="*/ 725 w 253"/>
                <a:gd name="T55" fmla="*/ 291 h 592"/>
                <a:gd name="T56" fmla="*/ 877 w 253"/>
                <a:gd name="T57" fmla="*/ 335 h 592"/>
                <a:gd name="T58" fmla="*/ 986 w 253"/>
                <a:gd name="T59" fmla="*/ 345 h 592"/>
                <a:gd name="T60" fmla="*/ 1188 w 253"/>
                <a:gd name="T61" fmla="*/ 380 h 592"/>
                <a:gd name="T62" fmla="*/ 1203 w 253"/>
                <a:gd name="T63" fmla="*/ 503 h 592"/>
                <a:gd name="T64" fmla="*/ 1074 w 253"/>
                <a:gd name="T65" fmla="*/ 695 h 592"/>
                <a:gd name="T66" fmla="*/ 1035 w 253"/>
                <a:gd name="T67" fmla="*/ 744 h 592"/>
                <a:gd name="T68" fmla="*/ 1060 w 253"/>
                <a:gd name="T69" fmla="*/ 902 h 592"/>
                <a:gd name="T70" fmla="*/ 1212 w 253"/>
                <a:gd name="T71" fmla="*/ 1099 h 592"/>
                <a:gd name="T72" fmla="*/ 1193 w 253"/>
                <a:gd name="T73" fmla="*/ 1193 h 592"/>
                <a:gd name="T74" fmla="*/ 1139 w 253"/>
                <a:gd name="T75" fmla="*/ 1444 h 592"/>
                <a:gd name="T76" fmla="*/ 961 w 253"/>
                <a:gd name="T77" fmla="*/ 1548 h 592"/>
                <a:gd name="T78" fmla="*/ 991 w 253"/>
                <a:gd name="T79" fmla="*/ 1671 h 592"/>
                <a:gd name="T80" fmla="*/ 986 w 253"/>
                <a:gd name="T81" fmla="*/ 1750 h 592"/>
                <a:gd name="T82" fmla="*/ 917 w 253"/>
                <a:gd name="T83" fmla="*/ 1750 h 592"/>
                <a:gd name="T84" fmla="*/ 1089 w 253"/>
                <a:gd name="T85" fmla="*/ 2169 h 592"/>
                <a:gd name="T86" fmla="*/ 1074 w 253"/>
                <a:gd name="T87" fmla="*/ 2405 h 592"/>
                <a:gd name="T88" fmla="*/ 996 w 253"/>
                <a:gd name="T89" fmla="*/ 2647 h 592"/>
                <a:gd name="T90" fmla="*/ 1055 w 253"/>
                <a:gd name="T91" fmla="*/ 2819 h 592"/>
                <a:gd name="T92" fmla="*/ 1104 w 253"/>
                <a:gd name="T93" fmla="*/ 2908 h 592"/>
                <a:gd name="T94" fmla="*/ 1020 w 253"/>
                <a:gd name="T95" fmla="*/ 2918 h 592"/>
                <a:gd name="T96" fmla="*/ 882 w 253"/>
                <a:gd name="T97" fmla="*/ 2874 h 592"/>
                <a:gd name="T98" fmla="*/ 729 w 253"/>
                <a:gd name="T99" fmla="*/ 2805 h 592"/>
                <a:gd name="T100" fmla="*/ 695 w 253"/>
                <a:gd name="T101" fmla="*/ 2814 h 59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3"/>
                <a:gd name="T154" fmla="*/ 0 h 592"/>
                <a:gd name="T155" fmla="*/ 253 w 253"/>
                <a:gd name="T156" fmla="*/ 592 h 59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3" h="592">
                  <a:moveTo>
                    <a:pt x="141" y="571"/>
                  </a:moveTo>
                  <a:cubicBezTo>
                    <a:pt x="141" y="570"/>
                    <a:pt x="141" y="569"/>
                    <a:pt x="141" y="568"/>
                  </a:cubicBezTo>
                  <a:cubicBezTo>
                    <a:pt x="141" y="563"/>
                    <a:pt x="133" y="557"/>
                    <a:pt x="130" y="552"/>
                  </a:cubicBezTo>
                  <a:cubicBezTo>
                    <a:pt x="127" y="547"/>
                    <a:pt x="123" y="545"/>
                    <a:pt x="121" y="539"/>
                  </a:cubicBezTo>
                  <a:cubicBezTo>
                    <a:pt x="120" y="538"/>
                    <a:pt x="118" y="538"/>
                    <a:pt x="118" y="536"/>
                  </a:cubicBezTo>
                  <a:cubicBezTo>
                    <a:pt x="118" y="533"/>
                    <a:pt x="122" y="533"/>
                    <a:pt x="122" y="531"/>
                  </a:cubicBezTo>
                  <a:lnTo>
                    <a:pt x="124" y="525"/>
                  </a:lnTo>
                  <a:cubicBezTo>
                    <a:pt x="124" y="524"/>
                    <a:pt x="126" y="525"/>
                    <a:pt x="127" y="523"/>
                  </a:cubicBezTo>
                  <a:cubicBezTo>
                    <a:pt x="123" y="520"/>
                    <a:pt x="121" y="523"/>
                    <a:pt x="116" y="520"/>
                  </a:cubicBezTo>
                  <a:cubicBezTo>
                    <a:pt x="111" y="515"/>
                    <a:pt x="107" y="513"/>
                    <a:pt x="100" y="509"/>
                  </a:cubicBezTo>
                  <a:cubicBezTo>
                    <a:pt x="95" y="510"/>
                    <a:pt x="94" y="504"/>
                    <a:pt x="91" y="504"/>
                  </a:cubicBezTo>
                  <a:cubicBezTo>
                    <a:pt x="83" y="504"/>
                    <a:pt x="86" y="492"/>
                    <a:pt x="83" y="486"/>
                  </a:cubicBezTo>
                  <a:cubicBezTo>
                    <a:pt x="80" y="481"/>
                    <a:pt x="70" y="477"/>
                    <a:pt x="70" y="470"/>
                  </a:cubicBezTo>
                  <a:cubicBezTo>
                    <a:pt x="70" y="468"/>
                    <a:pt x="71" y="465"/>
                    <a:pt x="68" y="465"/>
                  </a:cubicBezTo>
                  <a:cubicBezTo>
                    <a:pt x="67" y="465"/>
                    <a:pt x="66" y="467"/>
                    <a:pt x="64" y="467"/>
                  </a:cubicBezTo>
                  <a:cubicBezTo>
                    <a:pt x="63" y="467"/>
                    <a:pt x="62" y="462"/>
                    <a:pt x="62" y="461"/>
                  </a:cubicBezTo>
                  <a:cubicBezTo>
                    <a:pt x="64" y="461"/>
                    <a:pt x="67" y="462"/>
                    <a:pt x="67" y="460"/>
                  </a:cubicBezTo>
                  <a:cubicBezTo>
                    <a:pt x="67" y="460"/>
                    <a:pt x="67" y="459"/>
                    <a:pt x="67" y="459"/>
                  </a:cubicBezTo>
                  <a:cubicBezTo>
                    <a:pt x="67" y="457"/>
                    <a:pt x="71" y="453"/>
                    <a:pt x="71" y="453"/>
                  </a:cubicBezTo>
                  <a:cubicBezTo>
                    <a:pt x="73" y="451"/>
                    <a:pt x="78" y="455"/>
                    <a:pt x="79" y="454"/>
                  </a:cubicBezTo>
                  <a:cubicBezTo>
                    <a:pt x="80" y="452"/>
                    <a:pt x="82" y="451"/>
                    <a:pt x="82" y="448"/>
                  </a:cubicBezTo>
                  <a:cubicBezTo>
                    <a:pt x="86" y="446"/>
                    <a:pt x="83" y="440"/>
                    <a:pt x="86" y="437"/>
                  </a:cubicBezTo>
                  <a:cubicBezTo>
                    <a:pt x="88" y="435"/>
                    <a:pt x="91" y="436"/>
                    <a:pt x="93" y="436"/>
                  </a:cubicBezTo>
                  <a:cubicBezTo>
                    <a:pt x="94" y="436"/>
                    <a:pt x="95" y="436"/>
                    <a:pt x="96" y="436"/>
                  </a:cubicBezTo>
                  <a:cubicBezTo>
                    <a:pt x="96" y="436"/>
                    <a:pt x="103" y="433"/>
                    <a:pt x="100" y="431"/>
                  </a:cubicBezTo>
                  <a:cubicBezTo>
                    <a:pt x="98" y="430"/>
                    <a:pt x="102" y="427"/>
                    <a:pt x="100" y="426"/>
                  </a:cubicBezTo>
                  <a:cubicBezTo>
                    <a:pt x="99" y="425"/>
                    <a:pt x="96" y="429"/>
                    <a:pt x="96" y="426"/>
                  </a:cubicBezTo>
                  <a:cubicBezTo>
                    <a:pt x="95" y="422"/>
                    <a:pt x="91" y="420"/>
                    <a:pt x="91" y="419"/>
                  </a:cubicBezTo>
                  <a:cubicBezTo>
                    <a:pt x="91" y="417"/>
                    <a:pt x="91" y="410"/>
                    <a:pt x="92" y="410"/>
                  </a:cubicBezTo>
                  <a:cubicBezTo>
                    <a:pt x="94" y="410"/>
                    <a:pt x="97" y="413"/>
                    <a:pt x="99" y="413"/>
                  </a:cubicBezTo>
                  <a:cubicBezTo>
                    <a:pt x="101" y="413"/>
                    <a:pt x="109" y="410"/>
                    <a:pt x="109" y="408"/>
                  </a:cubicBezTo>
                  <a:cubicBezTo>
                    <a:pt x="109" y="406"/>
                    <a:pt x="109" y="405"/>
                    <a:pt x="108" y="402"/>
                  </a:cubicBezTo>
                  <a:cubicBezTo>
                    <a:pt x="106" y="391"/>
                    <a:pt x="104" y="384"/>
                    <a:pt x="100" y="372"/>
                  </a:cubicBezTo>
                  <a:cubicBezTo>
                    <a:pt x="99" y="369"/>
                    <a:pt x="96" y="362"/>
                    <a:pt x="92" y="360"/>
                  </a:cubicBezTo>
                  <a:cubicBezTo>
                    <a:pt x="87" y="357"/>
                    <a:pt x="83" y="354"/>
                    <a:pt x="79" y="350"/>
                  </a:cubicBezTo>
                  <a:cubicBezTo>
                    <a:pt x="80" y="349"/>
                    <a:pt x="80" y="349"/>
                    <a:pt x="81" y="349"/>
                  </a:cubicBezTo>
                  <a:cubicBezTo>
                    <a:pt x="82" y="346"/>
                    <a:pt x="85" y="348"/>
                    <a:pt x="88" y="347"/>
                  </a:cubicBezTo>
                  <a:cubicBezTo>
                    <a:pt x="91" y="344"/>
                    <a:pt x="92" y="341"/>
                    <a:pt x="97" y="337"/>
                  </a:cubicBezTo>
                  <a:cubicBezTo>
                    <a:pt x="101" y="334"/>
                    <a:pt x="98" y="334"/>
                    <a:pt x="100" y="331"/>
                  </a:cubicBezTo>
                  <a:cubicBezTo>
                    <a:pt x="101" y="329"/>
                    <a:pt x="103" y="325"/>
                    <a:pt x="101" y="322"/>
                  </a:cubicBezTo>
                  <a:cubicBezTo>
                    <a:pt x="97" y="316"/>
                    <a:pt x="101" y="307"/>
                    <a:pt x="94" y="309"/>
                  </a:cubicBezTo>
                  <a:lnTo>
                    <a:pt x="85" y="309"/>
                  </a:lnTo>
                  <a:cubicBezTo>
                    <a:pt x="81" y="307"/>
                    <a:pt x="70" y="305"/>
                    <a:pt x="67" y="305"/>
                  </a:cubicBezTo>
                  <a:cubicBezTo>
                    <a:pt x="66" y="305"/>
                    <a:pt x="63" y="305"/>
                    <a:pt x="63" y="303"/>
                  </a:cubicBezTo>
                  <a:cubicBezTo>
                    <a:pt x="63" y="300"/>
                    <a:pt x="66" y="299"/>
                    <a:pt x="67" y="296"/>
                  </a:cubicBezTo>
                  <a:cubicBezTo>
                    <a:pt x="68" y="294"/>
                    <a:pt x="66" y="292"/>
                    <a:pt x="68" y="291"/>
                  </a:cubicBezTo>
                  <a:cubicBezTo>
                    <a:pt x="69" y="290"/>
                    <a:pt x="71" y="291"/>
                    <a:pt x="73" y="291"/>
                  </a:cubicBezTo>
                  <a:cubicBezTo>
                    <a:pt x="75" y="291"/>
                    <a:pt x="76" y="288"/>
                    <a:pt x="80" y="288"/>
                  </a:cubicBezTo>
                  <a:cubicBezTo>
                    <a:pt x="83" y="288"/>
                    <a:pt x="84" y="292"/>
                    <a:pt x="87" y="292"/>
                  </a:cubicBezTo>
                  <a:cubicBezTo>
                    <a:pt x="88" y="292"/>
                    <a:pt x="89" y="291"/>
                    <a:pt x="90" y="291"/>
                  </a:cubicBezTo>
                  <a:cubicBezTo>
                    <a:pt x="94" y="291"/>
                    <a:pt x="95" y="295"/>
                    <a:pt x="97" y="299"/>
                  </a:cubicBezTo>
                  <a:cubicBezTo>
                    <a:pt x="97" y="300"/>
                    <a:pt x="100" y="305"/>
                    <a:pt x="102" y="305"/>
                  </a:cubicBezTo>
                  <a:cubicBezTo>
                    <a:pt x="104" y="305"/>
                    <a:pt x="106" y="303"/>
                    <a:pt x="108" y="303"/>
                  </a:cubicBezTo>
                  <a:cubicBezTo>
                    <a:pt x="110" y="303"/>
                    <a:pt x="110" y="305"/>
                    <a:pt x="112" y="305"/>
                  </a:cubicBezTo>
                  <a:cubicBezTo>
                    <a:pt x="119" y="305"/>
                    <a:pt x="120" y="298"/>
                    <a:pt x="125" y="296"/>
                  </a:cubicBezTo>
                  <a:cubicBezTo>
                    <a:pt x="128" y="295"/>
                    <a:pt x="131" y="298"/>
                    <a:pt x="134" y="297"/>
                  </a:cubicBezTo>
                  <a:cubicBezTo>
                    <a:pt x="135" y="296"/>
                    <a:pt x="135" y="293"/>
                    <a:pt x="138" y="293"/>
                  </a:cubicBezTo>
                  <a:cubicBezTo>
                    <a:pt x="139" y="293"/>
                    <a:pt x="139" y="294"/>
                    <a:pt x="140" y="294"/>
                  </a:cubicBezTo>
                  <a:cubicBezTo>
                    <a:pt x="144" y="294"/>
                    <a:pt x="144" y="289"/>
                    <a:pt x="147" y="288"/>
                  </a:cubicBezTo>
                  <a:cubicBezTo>
                    <a:pt x="147" y="288"/>
                    <a:pt x="148" y="289"/>
                    <a:pt x="149" y="289"/>
                  </a:cubicBezTo>
                  <a:cubicBezTo>
                    <a:pt x="151" y="289"/>
                    <a:pt x="151" y="288"/>
                    <a:pt x="151" y="287"/>
                  </a:cubicBezTo>
                  <a:cubicBezTo>
                    <a:pt x="151" y="281"/>
                    <a:pt x="148" y="276"/>
                    <a:pt x="148" y="269"/>
                  </a:cubicBezTo>
                  <a:cubicBezTo>
                    <a:pt x="148" y="266"/>
                    <a:pt x="149" y="264"/>
                    <a:pt x="148" y="261"/>
                  </a:cubicBezTo>
                  <a:cubicBezTo>
                    <a:pt x="147" y="258"/>
                    <a:pt x="145" y="257"/>
                    <a:pt x="143" y="255"/>
                  </a:cubicBezTo>
                  <a:cubicBezTo>
                    <a:pt x="142" y="253"/>
                    <a:pt x="142" y="250"/>
                    <a:pt x="141" y="247"/>
                  </a:cubicBezTo>
                  <a:lnTo>
                    <a:pt x="141" y="239"/>
                  </a:lnTo>
                  <a:cubicBezTo>
                    <a:pt x="139" y="237"/>
                    <a:pt x="138" y="233"/>
                    <a:pt x="134" y="234"/>
                  </a:cubicBezTo>
                  <a:cubicBezTo>
                    <a:pt x="127" y="234"/>
                    <a:pt x="123" y="238"/>
                    <a:pt x="116" y="239"/>
                  </a:cubicBezTo>
                  <a:cubicBezTo>
                    <a:pt x="108" y="241"/>
                    <a:pt x="111" y="229"/>
                    <a:pt x="108" y="225"/>
                  </a:cubicBezTo>
                  <a:cubicBezTo>
                    <a:pt x="107" y="223"/>
                    <a:pt x="102" y="221"/>
                    <a:pt x="102" y="219"/>
                  </a:cubicBezTo>
                  <a:cubicBezTo>
                    <a:pt x="101" y="217"/>
                    <a:pt x="101" y="214"/>
                    <a:pt x="100" y="212"/>
                  </a:cubicBezTo>
                  <a:cubicBezTo>
                    <a:pt x="99" y="209"/>
                    <a:pt x="93" y="210"/>
                    <a:pt x="93" y="206"/>
                  </a:cubicBezTo>
                  <a:cubicBezTo>
                    <a:pt x="93" y="202"/>
                    <a:pt x="90" y="199"/>
                    <a:pt x="89" y="199"/>
                  </a:cubicBezTo>
                  <a:cubicBezTo>
                    <a:pt x="86" y="197"/>
                    <a:pt x="86" y="192"/>
                    <a:pt x="81" y="192"/>
                  </a:cubicBezTo>
                  <a:cubicBezTo>
                    <a:pt x="79" y="192"/>
                    <a:pt x="75" y="192"/>
                    <a:pt x="72" y="192"/>
                  </a:cubicBezTo>
                  <a:cubicBezTo>
                    <a:pt x="65" y="192"/>
                    <a:pt x="69" y="186"/>
                    <a:pt x="67" y="182"/>
                  </a:cubicBezTo>
                  <a:cubicBezTo>
                    <a:pt x="65" y="179"/>
                    <a:pt x="64" y="175"/>
                    <a:pt x="60" y="172"/>
                  </a:cubicBezTo>
                  <a:cubicBezTo>
                    <a:pt x="58" y="170"/>
                    <a:pt x="55" y="163"/>
                    <a:pt x="54" y="159"/>
                  </a:cubicBezTo>
                  <a:cubicBezTo>
                    <a:pt x="53" y="156"/>
                    <a:pt x="55" y="151"/>
                    <a:pt x="51" y="151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49" y="152"/>
                    <a:pt x="49" y="153"/>
                    <a:pt x="49" y="153"/>
                  </a:cubicBezTo>
                  <a:cubicBezTo>
                    <a:pt x="49" y="158"/>
                    <a:pt x="48" y="161"/>
                    <a:pt x="43" y="161"/>
                  </a:cubicBezTo>
                  <a:cubicBezTo>
                    <a:pt x="38" y="162"/>
                    <a:pt x="37" y="159"/>
                    <a:pt x="37" y="156"/>
                  </a:cubicBezTo>
                  <a:cubicBezTo>
                    <a:pt x="37" y="154"/>
                    <a:pt x="38" y="154"/>
                    <a:pt x="37" y="150"/>
                  </a:cubicBezTo>
                  <a:cubicBezTo>
                    <a:pt x="37" y="149"/>
                    <a:pt x="31" y="144"/>
                    <a:pt x="31" y="144"/>
                  </a:cubicBezTo>
                  <a:cubicBezTo>
                    <a:pt x="30" y="142"/>
                    <a:pt x="31" y="140"/>
                    <a:pt x="31" y="137"/>
                  </a:cubicBezTo>
                  <a:cubicBezTo>
                    <a:pt x="30" y="135"/>
                    <a:pt x="28" y="135"/>
                    <a:pt x="28" y="131"/>
                  </a:cubicBezTo>
                  <a:cubicBezTo>
                    <a:pt x="28" y="129"/>
                    <a:pt x="26" y="125"/>
                    <a:pt x="24" y="125"/>
                  </a:cubicBezTo>
                  <a:cubicBezTo>
                    <a:pt x="22" y="125"/>
                    <a:pt x="19" y="122"/>
                    <a:pt x="18" y="121"/>
                  </a:cubicBezTo>
                  <a:cubicBezTo>
                    <a:pt x="17" y="119"/>
                    <a:pt x="17" y="116"/>
                    <a:pt x="15" y="116"/>
                  </a:cubicBezTo>
                  <a:cubicBezTo>
                    <a:pt x="13" y="116"/>
                    <a:pt x="13" y="117"/>
                    <a:pt x="12" y="117"/>
                  </a:cubicBezTo>
                  <a:cubicBezTo>
                    <a:pt x="10" y="117"/>
                    <a:pt x="7" y="116"/>
                    <a:pt x="7" y="113"/>
                  </a:cubicBezTo>
                  <a:cubicBezTo>
                    <a:pt x="7" y="112"/>
                    <a:pt x="8" y="110"/>
                    <a:pt x="8" y="110"/>
                  </a:cubicBezTo>
                  <a:cubicBezTo>
                    <a:pt x="8" y="104"/>
                    <a:pt x="8" y="103"/>
                    <a:pt x="8" y="100"/>
                  </a:cubicBezTo>
                  <a:cubicBezTo>
                    <a:pt x="8" y="97"/>
                    <a:pt x="8" y="97"/>
                    <a:pt x="6" y="97"/>
                  </a:cubicBezTo>
                  <a:cubicBezTo>
                    <a:pt x="4" y="97"/>
                    <a:pt x="2" y="96"/>
                    <a:pt x="0" y="94"/>
                  </a:cubicBezTo>
                  <a:lnTo>
                    <a:pt x="1" y="1"/>
                  </a:lnTo>
                  <a:lnTo>
                    <a:pt x="15" y="0"/>
                  </a:lnTo>
                  <a:cubicBezTo>
                    <a:pt x="16" y="3"/>
                    <a:pt x="42" y="1"/>
                    <a:pt x="44" y="1"/>
                  </a:cubicBezTo>
                  <a:cubicBezTo>
                    <a:pt x="47" y="3"/>
                    <a:pt x="64" y="2"/>
                    <a:pt x="64" y="2"/>
                  </a:cubicBezTo>
                  <a:cubicBezTo>
                    <a:pt x="68" y="4"/>
                    <a:pt x="70" y="6"/>
                    <a:pt x="75" y="6"/>
                  </a:cubicBezTo>
                  <a:cubicBezTo>
                    <a:pt x="75" y="9"/>
                    <a:pt x="81" y="14"/>
                    <a:pt x="83" y="15"/>
                  </a:cubicBezTo>
                  <a:lnTo>
                    <a:pt x="147" y="59"/>
                  </a:lnTo>
                  <a:cubicBezTo>
                    <a:pt x="148" y="60"/>
                    <a:pt x="149" y="65"/>
                    <a:pt x="153" y="65"/>
                  </a:cubicBezTo>
                  <a:cubicBezTo>
                    <a:pt x="157" y="65"/>
                    <a:pt x="154" y="67"/>
                    <a:pt x="159" y="66"/>
                  </a:cubicBezTo>
                  <a:cubicBezTo>
                    <a:pt x="162" y="65"/>
                    <a:pt x="173" y="68"/>
                    <a:pt x="178" y="68"/>
                  </a:cubicBezTo>
                  <a:cubicBezTo>
                    <a:pt x="183" y="68"/>
                    <a:pt x="182" y="63"/>
                    <a:pt x="185" y="63"/>
                  </a:cubicBezTo>
                  <a:cubicBezTo>
                    <a:pt x="185" y="63"/>
                    <a:pt x="186" y="68"/>
                    <a:pt x="193" y="68"/>
                  </a:cubicBezTo>
                  <a:cubicBezTo>
                    <a:pt x="194" y="68"/>
                    <a:pt x="196" y="63"/>
                    <a:pt x="198" y="68"/>
                  </a:cubicBezTo>
                  <a:cubicBezTo>
                    <a:pt x="198" y="68"/>
                    <a:pt x="200" y="70"/>
                    <a:pt x="200" y="70"/>
                  </a:cubicBezTo>
                  <a:cubicBezTo>
                    <a:pt x="206" y="74"/>
                    <a:pt x="210" y="74"/>
                    <a:pt x="217" y="74"/>
                  </a:cubicBezTo>
                  <a:cubicBezTo>
                    <a:pt x="221" y="74"/>
                    <a:pt x="223" y="72"/>
                    <a:pt x="224" y="72"/>
                  </a:cubicBezTo>
                  <a:cubicBezTo>
                    <a:pt x="229" y="72"/>
                    <a:pt x="230" y="77"/>
                    <a:pt x="236" y="77"/>
                  </a:cubicBezTo>
                  <a:cubicBezTo>
                    <a:pt x="237" y="77"/>
                    <a:pt x="239" y="77"/>
                    <a:pt x="241" y="77"/>
                  </a:cubicBezTo>
                  <a:lnTo>
                    <a:pt x="240" y="89"/>
                  </a:lnTo>
                  <a:cubicBezTo>
                    <a:pt x="242" y="93"/>
                    <a:pt x="243" y="96"/>
                    <a:pt x="244" y="102"/>
                  </a:cubicBezTo>
                  <a:cubicBezTo>
                    <a:pt x="245" y="114"/>
                    <a:pt x="236" y="116"/>
                    <a:pt x="229" y="119"/>
                  </a:cubicBezTo>
                  <a:cubicBezTo>
                    <a:pt x="227" y="120"/>
                    <a:pt x="224" y="126"/>
                    <a:pt x="223" y="130"/>
                  </a:cubicBezTo>
                  <a:cubicBezTo>
                    <a:pt x="222" y="133"/>
                    <a:pt x="219" y="137"/>
                    <a:pt x="218" y="141"/>
                  </a:cubicBezTo>
                  <a:lnTo>
                    <a:pt x="217" y="148"/>
                  </a:lnTo>
                  <a:cubicBezTo>
                    <a:pt x="217" y="148"/>
                    <a:pt x="215" y="151"/>
                    <a:pt x="210" y="151"/>
                  </a:cubicBezTo>
                  <a:lnTo>
                    <a:pt x="210" y="155"/>
                  </a:lnTo>
                  <a:cubicBezTo>
                    <a:pt x="213" y="161"/>
                    <a:pt x="212" y="168"/>
                    <a:pt x="214" y="170"/>
                  </a:cubicBezTo>
                  <a:cubicBezTo>
                    <a:pt x="218" y="178"/>
                    <a:pt x="212" y="179"/>
                    <a:pt x="215" y="183"/>
                  </a:cubicBezTo>
                  <a:cubicBezTo>
                    <a:pt x="217" y="187"/>
                    <a:pt x="220" y="191"/>
                    <a:pt x="222" y="196"/>
                  </a:cubicBezTo>
                  <a:cubicBezTo>
                    <a:pt x="223" y="200"/>
                    <a:pt x="228" y="202"/>
                    <a:pt x="230" y="205"/>
                  </a:cubicBezTo>
                  <a:cubicBezTo>
                    <a:pt x="231" y="207"/>
                    <a:pt x="231" y="211"/>
                    <a:pt x="233" y="214"/>
                  </a:cubicBezTo>
                  <a:cubicBezTo>
                    <a:pt x="236" y="218"/>
                    <a:pt x="243" y="217"/>
                    <a:pt x="246" y="223"/>
                  </a:cubicBezTo>
                  <a:cubicBezTo>
                    <a:pt x="248" y="227"/>
                    <a:pt x="250" y="228"/>
                    <a:pt x="253" y="229"/>
                  </a:cubicBezTo>
                  <a:lnTo>
                    <a:pt x="239" y="235"/>
                  </a:lnTo>
                  <a:lnTo>
                    <a:pt x="242" y="242"/>
                  </a:lnTo>
                  <a:lnTo>
                    <a:pt x="253" y="273"/>
                  </a:lnTo>
                  <a:cubicBezTo>
                    <a:pt x="248" y="276"/>
                    <a:pt x="241" y="277"/>
                    <a:pt x="239" y="282"/>
                  </a:cubicBezTo>
                  <a:cubicBezTo>
                    <a:pt x="237" y="285"/>
                    <a:pt x="235" y="290"/>
                    <a:pt x="231" y="293"/>
                  </a:cubicBezTo>
                  <a:cubicBezTo>
                    <a:pt x="227" y="296"/>
                    <a:pt x="223" y="299"/>
                    <a:pt x="218" y="301"/>
                  </a:cubicBezTo>
                  <a:cubicBezTo>
                    <a:pt x="214" y="302"/>
                    <a:pt x="208" y="301"/>
                    <a:pt x="206" y="304"/>
                  </a:cubicBezTo>
                  <a:cubicBezTo>
                    <a:pt x="204" y="306"/>
                    <a:pt x="205" y="309"/>
                    <a:pt x="203" y="310"/>
                  </a:cubicBezTo>
                  <a:cubicBezTo>
                    <a:pt x="200" y="312"/>
                    <a:pt x="195" y="309"/>
                    <a:pt x="195" y="314"/>
                  </a:cubicBezTo>
                  <a:cubicBezTo>
                    <a:pt x="195" y="316"/>
                    <a:pt x="197" y="315"/>
                    <a:pt x="198" y="318"/>
                  </a:cubicBezTo>
                  <a:cubicBezTo>
                    <a:pt x="198" y="322"/>
                    <a:pt x="198" y="324"/>
                    <a:pt x="199" y="327"/>
                  </a:cubicBezTo>
                  <a:cubicBezTo>
                    <a:pt x="199" y="329"/>
                    <a:pt x="202" y="331"/>
                    <a:pt x="202" y="334"/>
                  </a:cubicBezTo>
                  <a:cubicBezTo>
                    <a:pt x="202" y="336"/>
                    <a:pt x="201" y="337"/>
                    <a:pt x="201" y="339"/>
                  </a:cubicBezTo>
                  <a:lnTo>
                    <a:pt x="202" y="352"/>
                  </a:lnTo>
                  <a:cubicBezTo>
                    <a:pt x="201" y="353"/>
                    <a:pt x="201" y="355"/>
                    <a:pt x="200" y="355"/>
                  </a:cubicBezTo>
                  <a:cubicBezTo>
                    <a:pt x="199" y="355"/>
                    <a:pt x="198" y="354"/>
                    <a:pt x="197" y="354"/>
                  </a:cubicBezTo>
                  <a:cubicBezTo>
                    <a:pt x="196" y="354"/>
                    <a:pt x="195" y="355"/>
                    <a:pt x="194" y="355"/>
                  </a:cubicBezTo>
                  <a:cubicBezTo>
                    <a:pt x="193" y="355"/>
                    <a:pt x="190" y="352"/>
                    <a:pt x="188" y="352"/>
                  </a:cubicBezTo>
                  <a:cubicBezTo>
                    <a:pt x="187" y="352"/>
                    <a:pt x="186" y="354"/>
                    <a:pt x="186" y="355"/>
                  </a:cubicBezTo>
                  <a:cubicBezTo>
                    <a:pt x="181" y="354"/>
                    <a:pt x="183" y="357"/>
                    <a:pt x="180" y="357"/>
                  </a:cubicBezTo>
                  <a:cubicBezTo>
                    <a:pt x="180" y="357"/>
                    <a:pt x="176" y="356"/>
                    <a:pt x="178" y="359"/>
                  </a:cubicBezTo>
                  <a:lnTo>
                    <a:pt x="221" y="440"/>
                  </a:lnTo>
                  <a:lnTo>
                    <a:pt x="221" y="476"/>
                  </a:lnTo>
                  <a:cubicBezTo>
                    <a:pt x="221" y="477"/>
                    <a:pt x="221" y="483"/>
                    <a:pt x="220" y="485"/>
                  </a:cubicBezTo>
                  <a:cubicBezTo>
                    <a:pt x="219" y="486"/>
                    <a:pt x="218" y="487"/>
                    <a:pt x="218" y="488"/>
                  </a:cubicBezTo>
                  <a:cubicBezTo>
                    <a:pt x="218" y="489"/>
                    <a:pt x="218" y="489"/>
                    <a:pt x="218" y="490"/>
                  </a:cubicBezTo>
                  <a:cubicBezTo>
                    <a:pt x="218" y="490"/>
                    <a:pt x="220" y="495"/>
                    <a:pt x="220" y="499"/>
                  </a:cubicBezTo>
                  <a:cubicBezTo>
                    <a:pt x="220" y="509"/>
                    <a:pt x="217" y="511"/>
                    <a:pt x="213" y="519"/>
                  </a:cubicBezTo>
                  <a:cubicBezTo>
                    <a:pt x="210" y="525"/>
                    <a:pt x="208" y="536"/>
                    <a:pt x="202" y="537"/>
                  </a:cubicBezTo>
                  <a:cubicBezTo>
                    <a:pt x="200" y="537"/>
                    <a:pt x="201" y="541"/>
                    <a:pt x="198" y="541"/>
                  </a:cubicBezTo>
                  <a:cubicBezTo>
                    <a:pt x="197" y="541"/>
                    <a:pt x="195" y="539"/>
                    <a:pt x="195" y="542"/>
                  </a:cubicBezTo>
                  <a:lnTo>
                    <a:pt x="214" y="572"/>
                  </a:lnTo>
                  <a:cubicBezTo>
                    <a:pt x="217" y="577"/>
                    <a:pt x="220" y="580"/>
                    <a:pt x="223" y="584"/>
                  </a:cubicBezTo>
                  <a:cubicBezTo>
                    <a:pt x="223" y="585"/>
                    <a:pt x="225" y="586"/>
                    <a:pt x="225" y="587"/>
                  </a:cubicBezTo>
                  <a:cubicBezTo>
                    <a:pt x="225" y="589"/>
                    <a:pt x="224" y="589"/>
                    <a:pt x="224" y="590"/>
                  </a:cubicBezTo>
                  <a:lnTo>
                    <a:pt x="214" y="590"/>
                  </a:lnTo>
                  <a:cubicBezTo>
                    <a:pt x="211" y="591"/>
                    <a:pt x="210" y="592"/>
                    <a:pt x="207" y="592"/>
                  </a:cubicBezTo>
                  <a:cubicBezTo>
                    <a:pt x="204" y="592"/>
                    <a:pt x="204" y="590"/>
                    <a:pt x="201" y="590"/>
                  </a:cubicBezTo>
                  <a:cubicBezTo>
                    <a:pt x="195" y="590"/>
                    <a:pt x="195" y="588"/>
                    <a:pt x="191" y="585"/>
                  </a:cubicBezTo>
                  <a:cubicBezTo>
                    <a:pt x="187" y="583"/>
                    <a:pt x="184" y="585"/>
                    <a:pt x="182" y="585"/>
                  </a:cubicBezTo>
                  <a:cubicBezTo>
                    <a:pt x="181" y="585"/>
                    <a:pt x="180" y="584"/>
                    <a:pt x="179" y="583"/>
                  </a:cubicBezTo>
                  <a:cubicBezTo>
                    <a:pt x="177" y="581"/>
                    <a:pt x="172" y="582"/>
                    <a:pt x="171" y="579"/>
                  </a:cubicBezTo>
                  <a:cubicBezTo>
                    <a:pt x="170" y="577"/>
                    <a:pt x="171" y="574"/>
                    <a:pt x="170" y="572"/>
                  </a:cubicBezTo>
                  <a:cubicBezTo>
                    <a:pt x="168" y="569"/>
                    <a:pt x="160" y="565"/>
                    <a:pt x="156" y="564"/>
                  </a:cubicBezTo>
                  <a:cubicBezTo>
                    <a:pt x="155" y="563"/>
                    <a:pt x="152" y="567"/>
                    <a:pt x="148" y="569"/>
                  </a:cubicBezTo>
                  <a:lnTo>
                    <a:pt x="141" y="571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187" y="2148"/>
              <a:ext cx="468" cy="552"/>
            </a:xfrm>
            <a:custGeom>
              <a:avLst/>
              <a:gdLst>
                <a:gd name="T0" fmla="*/ 320 w 95"/>
                <a:gd name="T1" fmla="*/ 39 h 112"/>
                <a:gd name="T2" fmla="*/ 384 w 95"/>
                <a:gd name="T3" fmla="*/ 89 h 112"/>
                <a:gd name="T4" fmla="*/ 424 w 95"/>
                <a:gd name="T5" fmla="*/ 148 h 112"/>
                <a:gd name="T6" fmla="*/ 463 w 95"/>
                <a:gd name="T7" fmla="*/ 296 h 112"/>
                <a:gd name="T8" fmla="*/ 468 w 95"/>
                <a:gd name="T9" fmla="*/ 325 h 112"/>
                <a:gd name="T10" fmla="*/ 419 w 95"/>
                <a:gd name="T11" fmla="*/ 350 h 112"/>
                <a:gd name="T12" fmla="*/ 384 w 95"/>
                <a:gd name="T13" fmla="*/ 335 h 112"/>
                <a:gd name="T14" fmla="*/ 379 w 95"/>
                <a:gd name="T15" fmla="*/ 380 h 112"/>
                <a:gd name="T16" fmla="*/ 404 w 95"/>
                <a:gd name="T17" fmla="*/ 414 h 112"/>
                <a:gd name="T18" fmla="*/ 424 w 95"/>
                <a:gd name="T19" fmla="*/ 414 h 112"/>
                <a:gd name="T20" fmla="*/ 424 w 95"/>
                <a:gd name="T21" fmla="*/ 439 h 112"/>
                <a:gd name="T22" fmla="*/ 404 w 95"/>
                <a:gd name="T23" fmla="*/ 463 h 112"/>
                <a:gd name="T24" fmla="*/ 389 w 95"/>
                <a:gd name="T25" fmla="*/ 463 h 112"/>
                <a:gd name="T26" fmla="*/ 355 w 95"/>
                <a:gd name="T27" fmla="*/ 468 h 112"/>
                <a:gd name="T28" fmla="*/ 335 w 95"/>
                <a:gd name="T29" fmla="*/ 522 h 112"/>
                <a:gd name="T30" fmla="*/ 325 w 95"/>
                <a:gd name="T31" fmla="*/ 513 h 112"/>
                <a:gd name="T32" fmla="*/ 276 w 95"/>
                <a:gd name="T33" fmla="*/ 488 h 112"/>
                <a:gd name="T34" fmla="*/ 241 w 95"/>
                <a:gd name="T35" fmla="*/ 498 h 112"/>
                <a:gd name="T36" fmla="*/ 222 w 95"/>
                <a:gd name="T37" fmla="*/ 498 h 112"/>
                <a:gd name="T38" fmla="*/ 172 w 95"/>
                <a:gd name="T39" fmla="*/ 547 h 112"/>
                <a:gd name="T40" fmla="*/ 172 w 95"/>
                <a:gd name="T41" fmla="*/ 547 h 112"/>
                <a:gd name="T42" fmla="*/ 172 w 95"/>
                <a:gd name="T43" fmla="*/ 552 h 112"/>
                <a:gd name="T44" fmla="*/ 172 w 95"/>
                <a:gd name="T45" fmla="*/ 552 h 112"/>
                <a:gd name="T46" fmla="*/ 113 w 95"/>
                <a:gd name="T47" fmla="*/ 532 h 112"/>
                <a:gd name="T48" fmla="*/ 128 w 95"/>
                <a:gd name="T49" fmla="*/ 473 h 112"/>
                <a:gd name="T50" fmla="*/ 148 w 95"/>
                <a:gd name="T51" fmla="*/ 444 h 112"/>
                <a:gd name="T52" fmla="*/ 133 w 95"/>
                <a:gd name="T53" fmla="*/ 424 h 112"/>
                <a:gd name="T54" fmla="*/ 123 w 95"/>
                <a:gd name="T55" fmla="*/ 370 h 112"/>
                <a:gd name="T56" fmla="*/ 113 w 95"/>
                <a:gd name="T57" fmla="*/ 350 h 112"/>
                <a:gd name="T58" fmla="*/ 118 w 95"/>
                <a:gd name="T59" fmla="*/ 325 h 112"/>
                <a:gd name="T60" fmla="*/ 99 w 95"/>
                <a:gd name="T61" fmla="*/ 276 h 112"/>
                <a:gd name="T62" fmla="*/ 69 w 95"/>
                <a:gd name="T63" fmla="*/ 266 h 112"/>
                <a:gd name="T64" fmla="*/ 39 w 95"/>
                <a:gd name="T65" fmla="*/ 197 h 112"/>
                <a:gd name="T66" fmla="*/ 0 w 95"/>
                <a:gd name="T67" fmla="*/ 138 h 112"/>
                <a:gd name="T68" fmla="*/ 34 w 95"/>
                <a:gd name="T69" fmla="*/ 35 h 112"/>
                <a:gd name="T70" fmla="*/ 69 w 95"/>
                <a:gd name="T71" fmla="*/ 25 h 112"/>
                <a:gd name="T72" fmla="*/ 99 w 95"/>
                <a:gd name="T73" fmla="*/ 0 h 112"/>
                <a:gd name="T74" fmla="*/ 113 w 95"/>
                <a:gd name="T75" fmla="*/ 25 h 112"/>
                <a:gd name="T76" fmla="*/ 123 w 95"/>
                <a:gd name="T77" fmla="*/ 25 h 112"/>
                <a:gd name="T78" fmla="*/ 138 w 95"/>
                <a:gd name="T79" fmla="*/ 35 h 112"/>
                <a:gd name="T80" fmla="*/ 148 w 95"/>
                <a:gd name="T81" fmla="*/ 54 h 112"/>
                <a:gd name="T82" fmla="*/ 123 w 95"/>
                <a:gd name="T83" fmla="*/ 84 h 112"/>
                <a:gd name="T84" fmla="*/ 158 w 95"/>
                <a:gd name="T85" fmla="*/ 104 h 112"/>
                <a:gd name="T86" fmla="*/ 217 w 95"/>
                <a:gd name="T87" fmla="*/ 94 h 112"/>
                <a:gd name="T88" fmla="*/ 236 w 95"/>
                <a:gd name="T89" fmla="*/ 108 h 112"/>
                <a:gd name="T90" fmla="*/ 232 w 95"/>
                <a:gd name="T91" fmla="*/ 128 h 112"/>
                <a:gd name="T92" fmla="*/ 261 w 95"/>
                <a:gd name="T93" fmla="*/ 158 h 112"/>
                <a:gd name="T94" fmla="*/ 296 w 95"/>
                <a:gd name="T95" fmla="*/ 123 h 112"/>
                <a:gd name="T96" fmla="*/ 296 w 95"/>
                <a:gd name="T97" fmla="*/ 84 h 112"/>
                <a:gd name="T98" fmla="*/ 320 w 95"/>
                <a:gd name="T99" fmla="*/ 39 h 112"/>
                <a:gd name="T100" fmla="*/ 320 w 95"/>
                <a:gd name="T101" fmla="*/ 39 h 112"/>
                <a:gd name="T102" fmla="*/ 320 w 95"/>
                <a:gd name="T103" fmla="*/ 39 h 112"/>
                <a:gd name="T104" fmla="*/ 320 w 95"/>
                <a:gd name="T105" fmla="*/ 39 h 11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5"/>
                <a:gd name="T160" fmla="*/ 0 h 112"/>
                <a:gd name="T161" fmla="*/ 95 w 95"/>
                <a:gd name="T162" fmla="*/ 112 h 11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5" h="112">
                  <a:moveTo>
                    <a:pt x="65" y="8"/>
                  </a:moveTo>
                  <a:cubicBezTo>
                    <a:pt x="69" y="12"/>
                    <a:pt x="73" y="15"/>
                    <a:pt x="78" y="18"/>
                  </a:cubicBezTo>
                  <a:cubicBezTo>
                    <a:pt x="82" y="20"/>
                    <a:pt x="85" y="27"/>
                    <a:pt x="86" y="30"/>
                  </a:cubicBezTo>
                  <a:cubicBezTo>
                    <a:pt x="90" y="42"/>
                    <a:pt x="92" y="49"/>
                    <a:pt x="94" y="60"/>
                  </a:cubicBezTo>
                  <a:cubicBezTo>
                    <a:pt x="95" y="63"/>
                    <a:pt x="95" y="64"/>
                    <a:pt x="95" y="66"/>
                  </a:cubicBezTo>
                  <a:cubicBezTo>
                    <a:pt x="95" y="68"/>
                    <a:pt x="87" y="71"/>
                    <a:pt x="85" y="71"/>
                  </a:cubicBezTo>
                  <a:cubicBezTo>
                    <a:pt x="83" y="71"/>
                    <a:pt x="80" y="68"/>
                    <a:pt x="78" y="68"/>
                  </a:cubicBezTo>
                  <a:cubicBezTo>
                    <a:pt x="77" y="68"/>
                    <a:pt x="77" y="75"/>
                    <a:pt x="77" y="77"/>
                  </a:cubicBezTo>
                  <a:cubicBezTo>
                    <a:pt x="77" y="78"/>
                    <a:pt x="81" y="80"/>
                    <a:pt x="82" y="84"/>
                  </a:cubicBezTo>
                  <a:cubicBezTo>
                    <a:pt x="82" y="87"/>
                    <a:pt x="85" y="83"/>
                    <a:pt x="86" y="84"/>
                  </a:cubicBezTo>
                  <a:cubicBezTo>
                    <a:pt x="88" y="85"/>
                    <a:pt x="84" y="88"/>
                    <a:pt x="86" y="89"/>
                  </a:cubicBezTo>
                  <a:cubicBezTo>
                    <a:pt x="89" y="91"/>
                    <a:pt x="82" y="94"/>
                    <a:pt x="82" y="94"/>
                  </a:cubicBezTo>
                  <a:cubicBezTo>
                    <a:pt x="81" y="94"/>
                    <a:pt x="80" y="94"/>
                    <a:pt x="79" y="94"/>
                  </a:cubicBezTo>
                  <a:cubicBezTo>
                    <a:pt x="77" y="94"/>
                    <a:pt x="74" y="93"/>
                    <a:pt x="72" y="95"/>
                  </a:cubicBezTo>
                  <a:cubicBezTo>
                    <a:pt x="69" y="98"/>
                    <a:pt x="72" y="104"/>
                    <a:pt x="68" y="106"/>
                  </a:cubicBezTo>
                  <a:cubicBezTo>
                    <a:pt x="68" y="105"/>
                    <a:pt x="67" y="104"/>
                    <a:pt x="66" y="104"/>
                  </a:cubicBezTo>
                  <a:cubicBezTo>
                    <a:pt x="58" y="105"/>
                    <a:pt x="57" y="105"/>
                    <a:pt x="56" y="99"/>
                  </a:cubicBezTo>
                  <a:cubicBezTo>
                    <a:pt x="53" y="99"/>
                    <a:pt x="51" y="101"/>
                    <a:pt x="49" y="101"/>
                  </a:cubicBezTo>
                  <a:cubicBezTo>
                    <a:pt x="48" y="101"/>
                    <a:pt x="47" y="101"/>
                    <a:pt x="45" y="101"/>
                  </a:cubicBezTo>
                  <a:cubicBezTo>
                    <a:pt x="43" y="101"/>
                    <a:pt x="37" y="109"/>
                    <a:pt x="35" y="111"/>
                  </a:cubicBezTo>
                  <a:lnTo>
                    <a:pt x="35" y="112"/>
                  </a:lnTo>
                  <a:cubicBezTo>
                    <a:pt x="32" y="109"/>
                    <a:pt x="29" y="108"/>
                    <a:pt x="23" y="108"/>
                  </a:cubicBezTo>
                  <a:cubicBezTo>
                    <a:pt x="20" y="109"/>
                    <a:pt x="24" y="98"/>
                    <a:pt x="26" y="96"/>
                  </a:cubicBezTo>
                  <a:cubicBezTo>
                    <a:pt x="28" y="95"/>
                    <a:pt x="30" y="94"/>
                    <a:pt x="30" y="90"/>
                  </a:cubicBezTo>
                  <a:cubicBezTo>
                    <a:pt x="30" y="88"/>
                    <a:pt x="28" y="87"/>
                    <a:pt x="27" y="86"/>
                  </a:cubicBezTo>
                  <a:cubicBezTo>
                    <a:pt x="25" y="83"/>
                    <a:pt x="25" y="76"/>
                    <a:pt x="25" y="75"/>
                  </a:cubicBezTo>
                  <a:cubicBezTo>
                    <a:pt x="24" y="73"/>
                    <a:pt x="23" y="73"/>
                    <a:pt x="23" y="71"/>
                  </a:cubicBezTo>
                  <a:cubicBezTo>
                    <a:pt x="23" y="69"/>
                    <a:pt x="24" y="69"/>
                    <a:pt x="24" y="66"/>
                  </a:cubicBezTo>
                  <a:cubicBezTo>
                    <a:pt x="24" y="61"/>
                    <a:pt x="23" y="58"/>
                    <a:pt x="20" y="56"/>
                  </a:cubicBezTo>
                  <a:cubicBezTo>
                    <a:pt x="19" y="56"/>
                    <a:pt x="15" y="55"/>
                    <a:pt x="14" y="54"/>
                  </a:cubicBezTo>
                  <a:cubicBezTo>
                    <a:pt x="11" y="51"/>
                    <a:pt x="19" y="39"/>
                    <a:pt x="8" y="40"/>
                  </a:cubicBezTo>
                  <a:cubicBezTo>
                    <a:pt x="5" y="40"/>
                    <a:pt x="0" y="38"/>
                    <a:pt x="0" y="28"/>
                  </a:cubicBezTo>
                  <a:cubicBezTo>
                    <a:pt x="0" y="18"/>
                    <a:pt x="2" y="11"/>
                    <a:pt x="7" y="7"/>
                  </a:cubicBezTo>
                  <a:cubicBezTo>
                    <a:pt x="9" y="5"/>
                    <a:pt x="11" y="7"/>
                    <a:pt x="14" y="5"/>
                  </a:cubicBezTo>
                  <a:cubicBezTo>
                    <a:pt x="15" y="4"/>
                    <a:pt x="18" y="0"/>
                    <a:pt x="20" y="0"/>
                  </a:cubicBezTo>
                  <a:cubicBezTo>
                    <a:pt x="22" y="0"/>
                    <a:pt x="21" y="3"/>
                    <a:pt x="23" y="5"/>
                  </a:cubicBezTo>
                  <a:cubicBezTo>
                    <a:pt x="23" y="5"/>
                    <a:pt x="24" y="5"/>
                    <a:pt x="25" y="5"/>
                  </a:cubicBezTo>
                  <a:cubicBezTo>
                    <a:pt x="27" y="6"/>
                    <a:pt x="28" y="5"/>
                    <a:pt x="28" y="7"/>
                  </a:cubicBezTo>
                  <a:cubicBezTo>
                    <a:pt x="28" y="9"/>
                    <a:pt x="37" y="5"/>
                    <a:pt x="30" y="11"/>
                  </a:cubicBezTo>
                  <a:cubicBezTo>
                    <a:pt x="26" y="14"/>
                    <a:pt x="25" y="11"/>
                    <a:pt x="25" y="17"/>
                  </a:cubicBezTo>
                  <a:cubicBezTo>
                    <a:pt x="25" y="20"/>
                    <a:pt x="29" y="21"/>
                    <a:pt x="32" y="21"/>
                  </a:cubicBezTo>
                  <a:cubicBezTo>
                    <a:pt x="37" y="21"/>
                    <a:pt x="39" y="19"/>
                    <a:pt x="44" y="19"/>
                  </a:cubicBezTo>
                  <a:cubicBezTo>
                    <a:pt x="45" y="19"/>
                    <a:pt x="48" y="19"/>
                    <a:pt x="48" y="22"/>
                  </a:cubicBezTo>
                  <a:cubicBezTo>
                    <a:pt x="48" y="23"/>
                    <a:pt x="47" y="24"/>
                    <a:pt x="47" y="26"/>
                  </a:cubicBezTo>
                  <a:cubicBezTo>
                    <a:pt x="47" y="29"/>
                    <a:pt x="50" y="32"/>
                    <a:pt x="53" y="32"/>
                  </a:cubicBezTo>
                  <a:cubicBezTo>
                    <a:pt x="57" y="32"/>
                    <a:pt x="60" y="30"/>
                    <a:pt x="60" y="25"/>
                  </a:cubicBezTo>
                  <a:cubicBezTo>
                    <a:pt x="60" y="22"/>
                    <a:pt x="60" y="19"/>
                    <a:pt x="60" y="17"/>
                  </a:cubicBezTo>
                  <a:cubicBezTo>
                    <a:pt x="60" y="13"/>
                    <a:pt x="63" y="10"/>
                    <a:pt x="65" y="8"/>
                  </a:cubicBez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359" y="2636"/>
              <a:ext cx="163" cy="103"/>
            </a:xfrm>
            <a:custGeom>
              <a:avLst/>
              <a:gdLst>
                <a:gd name="T0" fmla="*/ 0 w 33"/>
                <a:gd name="T1" fmla="*/ 59 h 21"/>
                <a:gd name="T2" fmla="*/ 49 w 33"/>
                <a:gd name="T3" fmla="*/ 10 h 21"/>
                <a:gd name="T4" fmla="*/ 69 w 33"/>
                <a:gd name="T5" fmla="*/ 10 h 21"/>
                <a:gd name="T6" fmla="*/ 104 w 33"/>
                <a:gd name="T7" fmla="*/ 0 h 21"/>
                <a:gd name="T8" fmla="*/ 153 w 33"/>
                <a:gd name="T9" fmla="*/ 25 h 21"/>
                <a:gd name="T10" fmla="*/ 163 w 33"/>
                <a:gd name="T11" fmla="*/ 34 h 21"/>
                <a:gd name="T12" fmla="*/ 148 w 33"/>
                <a:gd name="T13" fmla="*/ 64 h 21"/>
                <a:gd name="T14" fmla="*/ 109 w 33"/>
                <a:gd name="T15" fmla="*/ 59 h 21"/>
                <a:gd name="T16" fmla="*/ 89 w 33"/>
                <a:gd name="T17" fmla="*/ 88 h 21"/>
                <a:gd name="T18" fmla="*/ 89 w 33"/>
                <a:gd name="T19" fmla="*/ 93 h 21"/>
                <a:gd name="T20" fmla="*/ 64 w 33"/>
                <a:gd name="T21" fmla="*/ 98 h 21"/>
                <a:gd name="T22" fmla="*/ 25 w 33"/>
                <a:gd name="T23" fmla="*/ 88 h 21"/>
                <a:gd name="T24" fmla="*/ 15 w 33"/>
                <a:gd name="T25" fmla="*/ 74 h 21"/>
                <a:gd name="T26" fmla="*/ 0 w 33"/>
                <a:gd name="T27" fmla="*/ 64 h 21"/>
                <a:gd name="T28" fmla="*/ 0 w 33"/>
                <a:gd name="T29" fmla="*/ 64 h 21"/>
                <a:gd name="T30" fmla="*/ 0 w 33"/>
                <a:gd name="T31" fmla="*/ 59 h 21"/>
                <a:gd name="T32" fmla="*/ 0 w 33"/>
                <a:gd name="T33" fmla="*/ 59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3"/>
                <a:gd name="T52" fmla="*/ 0 h 21"/>
                <a:gd name="T53" fmla="*/ 33 w 33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3" h="21">
                  <a:moveTo>
                    <a:pt x="0" y="12"/>
                  </a:moveTo>
                  <a:cubicBezTo>
                    <a:pt x="2" y="10"/>
                    <a:pt x="8" y="2"/>
                    <a:pt x="10" y="2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6" y="2"/>
                    <a:pt x="18" y="0"/>
                    <a:pt x="21" y="0"/>
                  </a:cubicBezTo>
                  <a:cubicBezTo>
                    <a:pt x="22" y="6"/>
                    <a:pt x="23" y="6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3" y="10"/>
                    <a:pt x="31" y="11"/>
                    <a:pt x="30" y="13"/>
                  </a:cubicBezTo>
                  <a:cubicBezTo>
                    <a:pt x="29" y="14"/>
                    <a:pt x="24" y="10"/>
                    <a:pt x="22" y="12"/>
                  </a:cubicBezTo>
                  <a:cubicBezTo>
                    <a:pt x="22" y="12"/>
                    <a:pt x="18" y="16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21"/>
                    <a:pt x="15" y="20"/>
                    <a:pt x="13" y="20"/>
                  </a:cubicBezTo>
                  <a:cubicBezTo>
                    <a:pt x="11" y="18"/>
                    <a:pt x="7" y="19"/>
                    <a:pt x="5" y="18"/>
                  </a:cubicBezTo>
                  <a:cubicBezTo>
                    <a:pt x="4" y="18"/>
                    <a:pt x="4" y="16"/>
                    <a:pt x="3" y="15"/>
                  </a:cubicBezTo>
                  <a:cubicBezTo>
                    <a:pt x="2" y="14"/>
                    <a:pt x="1" y="13"/>
                    <a:pt x="0" y="13"/>
                  </a:cubicBezTo>
                  <a:lnTo>
                    <a:pt x="0" y="12"/>
                  </a:lnTo>
                </a:path>
              </a:pathLst>
            </a:custGeom>
            <a:grpFill/>
            <a:ln w="0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1364" y="1763"/>
              <a:ext cx="433" cy="444"/>
            </a:xfrm>
            <a:custGeom>
              <a:avLst/>
              <a:gdLst>
                <a:gd name="T0" fmla="*/ 290 w 88"/>
                <a:gd name="T1" fmla="*/ 444 h 90"/>
                <a:gd name="T2" fmla="*/ 256 w 88"/>
                <a:gd name="T3" fmla="*/ 444 h 90"/>
                <a:gd name="T4" fmla="*/ 231 w 88"/>
                <a:gd name="T5" fmla="*/ 434 h 90"/>
                <a:gd name="T6" fmla="*/ 212 w 88"/>
                <a:gd name="T7" fmla="*/ 444 h 90"/>
                <a:gd name="T8" fmla="*/ 207 w 88"/>
                <a:gd name="T9" fmla="*/ 424 h 90"/>
                <a:gd name="T10" fmla="*/ 212 w 88"/>
                <a:gd name="T11" fmla="*/ 405 h 90"/>
                <a:gd name="T12" fmla="*/ 192 w 88"/>
                <a:gd name="T13" fmla="*/ 390 h 90"/>
                <a:gd name="T14" fmla="*/ 177 w 88"/>
                <a:gd name="T15" fmla="*/ 360 h 90"/>
                <a:gd name="T16" fmla="*/ 148 w 88"/>
                <a:gd name="T17" fmla="*/ 316 h 90"/>
                <a:gd name="T18" fmla="*/ 128 w 88"/>
                <a:gd name="T19" fmla="*/ 321 h 90"/>
                <a:gd name="T20" fmla="*/ 113 w 88"/>
                <a:gd name="T21" fmla="*/ 316 h 90"/>
                <a:gd name="T22" fmla="*/ 89 w 88"/>
                <a:gd name="T23" fmla="*/ 335 h 90"/>
                <a:gd name="T24" fmla="*/ 64 w 88"/>
                <a:gd name="T25" fmla="*/ 335 h 90"/>
                <a:gd name="T26" fmla="*/ 49 w 88"/>
                <a:gd name="T27" fmla="*/ 370 h 90"/>
                <a:gd name="T28" fmla="*/ 30 w 88"/>
                <a:gd name="T29" fmla="*/ 400 h 90"/>
                <a:gd name="T30" fmla="*/ 15 w 88"/>
                <a:gd name="T31" fmla="*/ 429 h 90"/>
                <a:gd name="T32" fmla="*/ 0 w 88"/>
                <a:gd name="T33" fmla="*/ 395 h 90"/>
                <a:gd name="T34" fmla="*/ 10 w 88"/>
                <a:gd name="T35" fmla="*/ 390 h 90"/>
                <a:gd name="T36" fmla="*/ 20 w 88"/>
                <a:gd name="T37" fmla="*/ 345 h 90"/>
                <a:gd name="T38" fmla="*/ 25 w 88"/>
                <a:gd name="T39" fmla="*/ 335 h 90"/>
                <a:gd name="T40" fmla="*/ 25 w 88"/>
                <a:gd name="T41" fmla="*/ 335 h 90"/>
                <a:gd name="T42" fmla="*/ 49 w 88"/>
                <a:gd name="T43" fmla="*/ 301 h 90"/>
                <a:gd name="T44" fmla="*/ 49 w 88"/>
                <a:gd name="T45" fmla="*/ 301 h 90"/>
                <a:gd name="T46" fmla="*/ 49 w 88"/>
                <a:gd name="T47" fmla="*/ 276 h 90"/>
                <a:gd name="T48" fmla="*/ 64 w 88"/>
                <a:gd name="T49" fmla="*/ 247 h 90"/>
                <a:gd name="T50" fmla="*/ 69 w 88"/>
                <a:gd name="T51" fmla="*/ 207 h 90"/>
                <a:gd name="T52" fmla="*/ 103 w 88"/>
                <a:gd name="T53" fmla="*/ 187 h 90"/>
                <a:gd name="T54" fmla="*/ 128 w 88"/>
                <a:gd name="T55" fmla="*/ 143 h 90"/>
                <a:gd name="T56" fmla="*/ 153 w 88"/>
                <a:gd name="T57" fmla="*/ 128 h 90"/>
                <a:gd name="T58" fmla="*/ 187 w 88"/>
                <a:gd name="T59" fmla="*/ 74 h 90"/>
                <a:gd name="T60" fmla="*/ 207 w 88"/>
                <a:gd name="T61" fmla="*/ 0 h 90"/>
                <a:gd name="T62" fmla="*/ 217 w 88"/>
                <a:gd name="T63" fmla="*/ 10 h 90"/>
                <a:gd name="T64" fmla="*/ 226 w 88"/>
                <a:gd name="T65" fmla="*/ 0 h 90"/>
                <a:gd name="T66" fmla="*/ 266 w 88"/>
                <a:gd name="T67" fmla="*/ 69 h 90"/>
                <a:gd name="T68" fmla="*/ 315 w 88"/>
                <a:gd name="T69" fmla="*/ 109 h 90"/>
                <a:gd name="T70" fmla="*/ 379 w 88"/>
                <a:gd name="T71" fmla="*/ 89 h 90"/>
                <a:gd name="T72" fmla="*/ 428 w 88"/>
                <a:gd name="T73" fmla="*/ 109 h 90"/>
                <a:gd name="T74" fmla="*/ 428 w 88"/>
                <a:gd name="T75" fmla="*/ 109 h 90"/>
                <a:gd name="T76" fmla="*/ 428 w 88"/>
                <a:gd name="T77" fmla="*/ 153 h 90"/>
                <a:gd name="T78" fmla="*/ 428 w 88"/>
                <a:gd name="T79" fmla="*/ 153 h 90"/>
                <a:gd name="T80" fmla="*/ 379 w 88"/>
                <a:gd name="T81" fmla="*/ 192 h 90"/>
                <a:gd name="T82" fmla="*/ 354 w 88"/>
                <a:gd name="T83" fmla="*/ 207 h 90"/>
                <a:gd name="T84" fmla="*/ 315 w 88"/>
                <a:gd name="T85" fmla="*/ 227 h 90"/>
                <a:gd name="T86" fmla="*/ 354 w 88"/>
                <a:gd name="T87" fmla="*/ 266 h 90"/>
                <a:gd name="T88" fmla="*/ 354 w 88"/>
                <a:gd name="T89" fmla="*/ 266 h 90"/>
                <a:gd name="T90" fmla="*/ 354 w 88"/>
                <a:gd name="T91" fmla="*/ 311 h 90"/>
                <a:gd name="T92" fmla="*/ 354 w 88"/>
                <a:gd name="T93" fmla="*/ 311 h 90"/>
                <a:gd name="T94" fmla="*/ 364 w 88"/>
                <a:gd name="T95" fmla="*/ 340 h 90"/>
                <a:gd name="T96" fmla="*/ 335 w 88"/>
                <a:gd name="T97" fmla="*/ 385 h 90"/>
                <a:gd name="T98" fmla="*/ 315 w 88"/>
                <a:gd name="T99" fmla="*/ 409 h 90"/>
                <a:gd name="T100" fmla="*/ 295 w 88"/>
                <a:gd name="T101" fmla="*/ 444 h 90"/>
                <a:gd name="T102" fmla="*/ 295 w 88"/>
                <a:gd name="T103" fmla="*/ 444 h 90"/>
                <a:gd name="T104" fmla="*/ 290 w 88"/>
                <a:gd name="T105" fmla="*/ 444 h 90"/>
                <a:gd name="T106" fmla="*/ 290 w 88"/>
                <a:gd name="T107" fmla="*/ 444 h 9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8"/>
                <a:gd name="T163" fmla="*/ 0 h 90"/>
                <a:gd name="T164" fmla="*/ 88 w 88"/>
                <a:gd name="T165" fmla="*/ 90 h 9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8" h="90">
                  <a:moveTo>
                    <a:pt x="59" y="90"/>
                  </a:moveTo>
                  <a:cubicBezTo>
                    <a:pt x="56" y="88"/>
                    <a:pt x="54" y="90"/>
                    <a:pt x="52" y="90"/>
                  </a:cubicBezTo>
                  <a:cubicBezTo>
                    <a:pt x="51" y="90"/>
                    <a:pt x="50" y="88"/>
                    <a:pt x="47" y="88"/>
                  </a:cubicBezTo>
                  <a:cubicBezTo>
                    <a:pt x="46" y="88"/>
                    <a:pt x="45" y="90"/>
                    <a:pt x="43" y="90"/>
                  </a:cubicBezTo>
                  <a:cubicBezTo>
                    <a:pt x="42" y="90"/>
                    <a:pt x="42" y="87"/>
                    <a:pt x="42" y="86"/>
                  </a:cubicBezTo>
                  <a:cubicBezTo>
                    <a:pt x="42" y="84"/>
                    <a:pt x="43" y="84"/>
                    <a:pt x="43" y="82"/>
                  </a:cubicBezTo>
                  <a:cubicBezTo>
                    <a:pt x="43" y="79"/>
                    <a:pt x="40" y="80"/>
                    <a:pt x="39" y="79"/>
                  </a:cubicBezTo>
                  <a:cubicBezTo>
                    <a:pt x="36" y="78"/>
                    <a:pt x="37" y="74"/>
                    <a:pt x="36" y="73"/>
                  </a:cubicBezTo>
                  <a:cubicBezTo>
                    <a:pt x="35" y="70"/>
                    <a:pt x="33" y="64"/>
                    <a:pt x="30" y="64"/>
                  </a:cubicBezTo>
                  <a:cubicBezTo>
                    <a:pt x="28" y="64"/>
                    <a:pt x="28" y="65"/>
                    <a:pt x="26" y="65"/>
                  </a:cubicBezTo>
                  <a:cubicBezTo>
                    <a:pt x="25" y="65"/>
                    <a:pt x="24" y="64"/>
                    <a:pt x="23" y="64"/>
                  </a:cubicBezTo>
                  <a:cubicBezTo>
                    <a:pt x="19" y="64"/>
                    <a:pt x="20" y="67"/>
                    <a:pt x="18" y="68"/>
                  </a:cubicBezTo>
                  <a:cubicBezTo>
                    <a:pt x="16" y="69"/>
                    <a:pt x="15" y="68"/>
                    <a:pt x="13" y="68"/>
                  </a:cubicBezTo>
                  <a:cubicBezTo>
                    <a:pt x="10" y="70"/>
                    <a:pt x="10" y="72"/>
                    <a:pt x="10" y="75"/>
                  </a:cubicBezTo>
                  <a:cubicBezTo>
                    <a:pt x="10" y="79"/>
                    <a:pt x="7" y="79"/>
                    <a:pt x="6" y="81"/>
                  </a:cubicBezTo>
                  <a:cubicBezTo>
                    <a:pt x="4" y="83"/>
                    <a:pt x="6" y="87"/>
                    <a:pt x="3" y="87"/>
                  </a:cubicBezTo>
                  <a:cubicBezTo>
                    <a:pt x="2" y="84"/>
                    <a:pt x="0" y="82"/>
                    <a:pt x="0" y="80"/>
                  </a:cubicBezTo>
                  <a:cubicBezTo>
                    <a:pt x="0" y="78"/>
                    <a:pt x="1" y="79"/>
                    <a:pt x="2" y="79"/>
                  </a:cubicBezTo>
                  <a:cubicBezTo>
                    <a:pt x="5" y="77"/>
                    <a:pt x="1" y="73"/>
                    <a:pt x="4" y="70"/>
                  </a:cubicBezTo>
                  <a:cubicBezTo>
                    <a:pt x="4" y="70"/>
                    <a:pt x="5" y="69"/>
                    <a:pt x="5" y="68"/>
                  </a:cubicBezTo>
                  <a:lnTo>
                    <a:pt x="10" y="61"/>
                  </a:lnTo>
                  <a:cubicBezTo>
                    <a:pt x="11" y="60"/>
                    <a:pt x="10" y="58"/>
                    <a:pt x="10" y="56"/>
                  </a:cubicBezTo>
                  <a:cubicBezTo>
                    <a:pt x="10" y="53"/>
                    <a:pt x="12" y="51"/>
                    <a:pt x="13" y="50"/>
                  </a:cubicBezTo>
                  <a:cubicBezTo>
                    <a:pt x="13" y="47"/>
                    <a:pt x="13" y="44"/>
                    <a:pt x="14" y="42"/>
                  </a:cubicBezTo>
                  <a:cubicBezTo>
                    <a:pt x="15" y="39"/>
                    <a:pt x="19" y="39"/>
                    <a:pt x="21" y="38"/>
                  </a:cubicBezTo>
                  <a:cubicBezTo>
                    <a:pt x="25" y="36"/>
                    <a:pt x="25" y="33"/>
                    <a:pt x="26" y="29"/>
                  </a:cubicBezTo>
                  <a:cubicBezTo>
                    <a:pt x="27" y="27"/>
                    <a:pt x="29" y="27"/>
                    <a:pt x="31" y="26"/>
                  </a:cubicBezTo>
                  <a:cubicBezTo>
                    <a:pt x="34" y="23"/>
                    <a:pt x="36" y="19"/>
                    <a:pt x="38" y="15"/>
                  </a:cubicBezTo>
                  <a:cubicBezTo>
                    <a:pt x="40" y="10"/>
                    <a:pt x="38" y="5"/>
                    <a:pt x="42" y="0"/>
                  </a:cubicBezTo>
                  <a:cubicBezTo>
                    <a:pt x="43" y="1"/>
                    <a:pt x="43" y="2"/>
                    <a:pt x="44" y="2"/>
                  </a:cubicBezTo>
                  <a:cubicBezTo>
                    <a:pt x="45" y="2"/>
                    <a:pt x="46" y="1"/>
                    <a:pt x="46" y="0"/>
                  </a:cubicBezTo>
                  <a:cubicBezTo>
                    <a:pt x="46" y="5"/>
                    <a:pt x="52" y="8"/>
                    <a:pt x="54" y="14"/>
                  </a:cubicBezTo>
                  <a:cubicBezTo>
                    <a:pt x="57" y="14"/>
                    <a:pt x="59" y="22"/>
                    <a:pt x="64" y="22"/>
                  </a:cubicBezTo>
                  <a:cubicBezTo>
                    <a:pt x="74" y="23"/>
                    <a:pt x="72" y="18"/>
                    <a:pt x="77" y="18"/>
                  </a:cubicBezTo>
                  <a:cubicBezTo>
                    <a:pt x="81" y="18"/>
                    <a:pt x="83" y="19"/>
                    <a:pt x="87" y="22"/>
                  </a:cubicBezTo>
                  <a:lnTo>
                    <a:pt x="87" y="31"/>
                  </a:lnTo>
                  <a:cubicBezTo>
                    <a:pt x="88" y="38"/>
                    <a:pt x="83" y="39"/>
                    <a:pt x="77" y="39"/>
                  </a:cubicBezTo>
                  <a:cubicBezTo>
                    <a:pt x="75" y="39"/>
                    <a:pt x="74" y="41"/>
                    <a:pt x="72" y="42"/>
                  </a:cubicBezTo>
                  <a:cubicBezTo>
                    <a:pt x="69" y="42"/>
                    <a:pt x="64" y="41"/>
                    <a:pt x="64" y="46"/>
                  </a:cubicBezTo>
                  <a:cubicBezTo>
                    <a:pt x="64" y="51"/>
                    <a:pt x="70" y="50"/>
                    <a:pt x="72" y="54"/>
                  </a:cubicBezTo>
                  <a:lnTo>
                    <a:pt x="72" y="63"/>
                  </a:lnTo>
                  <a:cubicBezTo>
                    <a:pt x="73" y="64"/>
                    <a:pt x="74" y="67"/>
                    <a:pt x="74" y="69"/>
                  </a:cubicBezTo>
                  <a:cubicBezTo>
                    <a:pt x="74" y="73"/>
                    <a:pt x="69" y="74"/>
                    <a:pt x="68" y="78"/>
                  </a:cubicBezTo>
                  <a:cubicBezTo>
                    <a:pt x="67" y="79"/>
                    <a:pt x="65" y="83"/>
                    <a:pt x="64" y="83"/>
                  </a:cubicBezTo>
                  <a:cubicBezTo>
                    <a:pt x="63" y="85"/>
                    <a:pt x="60" y="86"/>
                    <a:pt x="60" y="90"/>
                  </a:cubicBezTo>
                  <a:lnTo>
                    <a:pt x="59" y="90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gray">
            <a:xfrm>
              <a:off x="1373" y="398"/>
              <a:ext cx="1489" cy="3037"/>
            </a:xfrm>
            <a:custGeom>
              <a:avLst/>
              <a:gdLst>
                <a:gd name="T0" fmla="*/ 222 w 302"/>
                <a:gd name="T1" fmla="*/ 2204 h 616"/>
                <a:gd name="T2" fmla="*/ 370 w 302"/>
                <a:gd name="T3" fmla="*/ 2145 h 616"/>
                <a:gd name="T4" fmla="*/ 394 w 302"/>
                <a:gd name="T5" fmla="*/ 2046 h 616"/>
                <a:gd name="T6" fmla="*/ 390 w 302"/>
                <a:gd name="T7" fmla="*/ 1888 h 616"/>
                <a:gd name="T8" fmla="*/ 483 w 302"/>
                <a:gd name="T9" fmla="*/ 1893 h 616"/>
                <a:gd name="T10" fmla="*/ 414 w 302"/>
                <a:gd name="T11" fmla="*/ 1804 h 616"/>
                <a:gd name="T12" fmla="*/ 325 w 302"/>
                <a:gd name="T13" fmla="*/ 1750 h 616"/>
                <a:gd name="T14" fmla="*/ 345 w 302"/>
                <a:gd name="T15" fmla="*/ 1632 h 616"/>
                <a:gd name="T16" fmla="*/ 370 w 302"/>
                <a:gd name="T17" fmla="*/ 1558 h 616"/>
                <a:gd name="T18" fmla="*/ 419 w 302"/>
                <a:gd name="T19" fmla="*/ 1474 h 616"/>
                <a:gd name="T20" fmla="*/ 217 w 302"/>
                <a:gd name="T21" fmla="*/ 1366 h 616"/>
                <a:gd name="T22" fmla="*/ 306 w 302"/>
                <a:gd name="T23" fmla="*/ 1297 h 616"/>
                <a:gd name="T24" fmla="*/ 350 w 302"/>
                <a:gd name="T25" fmla="*/ 1188 h 616"/>
                <a:gd name="T26" fmla="*/ 370 w 302"/>
                <a:gd name="T27" fmla="*/ 1065 h 616"/>
                <a:gd name="T28" fmla="*/ 325 w 302"/>
                <a:gd name="T29" fmla="*/ 883 h 616"/>
                <a:gd name="T30" fmla="*/ 335 w 302"/>
                <a:gd name="T31" fmla="*/ 818 h 616"/>
                <a:gd name="T32" fmla="*/ 286 w 302"/>
                <a:gd name="T33" fmla="*/ 705 h 616"/>
                <a:gd name="T34" fmla="*/ 202 w 302"/>
                <a:gd name="T35" fmla="*/ 577 h 616"/>
                <a:gd name="T36" fmla="*/ 143 w 302"/>
                <a:gd name="T37" fmla="*/ 473 h 616"/>
                <a:gd name="T38" fmla="*/ 133 w 302"/>
                <a:gd name="T39" fmla="*/ 340 h 616"/>
                <a:gd name="T40" fmla="*/ 84 w 302"/>
                <a:gd name="T41" fmla="*/ 296 h 616"/>
                <a:gd name="T42" fmla="*/ 49 w 302"/>
                <a:gd name="T43" fmla="*/ 261 h 616"/>
                <a:gd name="T44" fmla="*/ 0 w 302"/>
                <a:gd name="T45" fmla="*/ 158 h 616"/>
                <a:gd name="T46" fmla="*/ 705 w 302"/>
                <a:gd name="T47" fmla="*/ 0 h 616"/>
                <a:gd name="T48" fmla="*/ 745 w 302"/>
                <a:gd name="T49" fmla="*/ 528 h 616"/>
                <a:gd name="T50" fmla="*/ 784 w 302"/>
                <a:gd name="T51" fmla="*/ 606 h 616"/>
                <a:gd name="T52" fmla="*/ 833 w 302"/>
                <a:gd name="T53" fmla="*/ 661 h 616"/>
                <a:gd name="T54" fmla="*/ 897 w 302"/>
                <a:gd name="T55" fmla="*/ 774 h 616"/>
                <a:gd name="T56" fmla="*/ 986 w 302"/>
                <a:gd name="T57" fmla="*/ 818 h 616"/>
                <a:gd name="T58" fmla="*/ 1040 w 302"/>
                <a:gd name="T59" fmla="*/ 912 h 616"/>
                <a:gd name="T60" fmla="*/ 1183 w 302"/>
                <a:gd name="T61" fmla="*/ 1045 h 616"/>
                <a:gd name="T62" fmla="*/ 1277 w 302"/>
                <a:gd name="T63" fmla="*/ 1173 h 616"/>
                <a:gd name="T64" fmla="*/ 1440 w 302"/>
                <a:gd name="T65" fmla="*/ 1242 h 616"/>
                <a:gd name="T66" fmla="*/ 1474 w 302"/>
                <a:gd name="T67" fmla="*/ 1351 h 616"/>
                <a:gd name="T68" fmla="*/ 1469 w 302"/>
                <a:gd name="T69" fmla="*/ 1484 h 616"/>
                <a:gd name="T70" fmla="*/ 1361 w 302"/>
                <a:gd name="T71" fmla="*/ 1523 h 616"/>
                <a:gd name="T72" fmla="*/ 1223 w 302"/>
                <a:gd name="T73" fmla="*/ 1538 h 616"/>
                <a:gd name="T74" fmla="*/ 1104 w 302"/>
                <a:gd name="T75" fmla="*/ 1499 h 616"/>
                <a:gd name="T76" fmla="*/ 1075 w 302"/>
                <a:gd name="T77" fmla="*/ 1568 h 616"/>
                <a:gd name="T78" fmla="*/ 1208 w 302"/>
                <a:gd name="T79" fmla="*/ 1588 h 616"/>
                <a:gd name="T80" fmla="*/ 1178 w 302"/>
                <a:gd name="T81" fmla="*/ 1775 h 616"/>
                <a:gd name="T82" fmla="*/ 1075 w 302"/>
                <a:gd name="T83" fmla="*/ 1908 h 616"/>
                <a:gd name="T84" fmla="*/ 971 w 302"/>
                <a:gd name="T85" fmla="*/ 1854 h 616"/>
                <a:gd name="T86" fmla="*/ 937 w 302"/>
                <a:gd name="T87" fmla="*/ 1775 h 616"/>
                <a:gd name="T88" fmla="*/ 848 w 302"/>
                <a:gd name="T89" fmla="*/ 1785 h 616"/>
                <a:gd name="T90" fmla="*/ 912 w 302"/>
                <a:gd name="T91" fmla="*/ 2026 h 616"/>
                <a:gd name="T92" fmla="*/ 947 w 302"/>
                <a:gd name="T93" fmla="*/ 2174 h 616"/>
                <a:gd name="T94" fmla="*/ 1001 w 302"/>
                <a:gd name="T95" fmla="*/ 2312 h 616"/>
                <a:gd name="T96" fmla="*/ 1080 w 302"/>
                <a:gd name="T97" fmla="*/ 2357 h 616"/>
                <a:gd name="T98" fmla="*/ 1238 w 302"/>
                <a:gd name="T99" fmla="*/ 2574 h 616"/>
                <a:gd name="T100" fmla="*/ 1356 w 302"/>
                <a:gd name="T101" fmla="*/ 2652 h 616"/>
                <a:gd name="T102" fmla="*/ 1341 w 302"/>
                <a:gd name="T103" fmla="*/ 2721 h 616"/>
                <a:gd name="T104" fmla="*/ 1415 w 302"/>
                <a:gd name="T105" fmla="*/ 2988 h 616"/>
                <a:gd name="T106" fmla="*/ 1346 w 302"/>
                <a:gd name="T107" fmla="*/ 2983 h 616"/>
                <a:gd name="T108" fmla="*/ 1228 w 302"/>
                <a:gd name="T109" fmla="*/ 2919 h 616"/>
                <a:gd name="T110" fmla="*/ 276 w 302"/>
                <a:gd name="T111" fmla="*/ 2347 h 6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2"/>
                <a:gd name="T169" fmla="*/ 0 h 616"/>
                <a:gd name="T170" fmla="*/ 302 w 302"/>
                <a:gd name="T171" fmla="*/ 616 h 61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2" h="616">
                  <a:moveTo>
                    <a:pt x="56" y="476"/>
                  </a:moveTo>
                  <a:cubicBezTo>
                    <a:pt x="55" y="471"/>
                    <a:pt x="53" y="462"/>
                    <a:pt x="52" y="460"/>
                  </a:cubicBezTo>
                  <a:cubicBezTo>
                    <a:pt x="49" y="456"/>
                    <a:pt x="49" y="455"/>
                    <a:pt x="48" y="452"/>
                  </a:cubicBezTo>
                  <a:cubicBezTo>
                    <a:pt x="44" y="451"/>
                    <a:pt x="47" y="449"/>
                    <a:pt x="45" y="447"/>
                  </a:cubicBezTo>
                  <a:cubicBezTo>
                    <a:pt x="43" y="444"/>
                    <a:pt x="46" y="442"/>
                    <a:pt x="46" y="442"/>
                  </a:cubicBezTo>
                  <a:cubicBezTo>
                    <a:pt x="48" y="440"/>
                    <a:pt x="51" y="441"/>
                    <a:pt x="54" y="441"/>
                  </a:cubicBezTo>
                  <a:cubicBezTo>
                    <a:pt x="58" y="441"/>
                    <a:pt x="60" y="440"/>
                    <a:pt x="64" y="439"/>
                  </a:cubicBezTo>
                  <a:cubicBezTo>
                    <a:pt x="68" y="438"/>
                    <a:pt x="72" y="436"/>
                    <a:pt x="75" y="435"/>
                  </a:cubicBezTo>
                  <a:cubicBezTo>
                    <a:pt x="78" y="434"/>
                    <a:pt x="75" y="431"/>
                    <a:pt x="77" y="430"/>
                  </a:cubicBezTo>
                  <a:cubicBezTo>
                    <a:pt x="78" y="429"/>
                    <a:pt x="81" y="428"/>
                    <a:pt x="81" y="425"/>
                  </a:cubicBezTo>
                  <a:cubicBezTo>
                    <a:pt x="81" y="423"/>
                    <a:pt x="79" y="421"/>
                    <a:pt x="79" y="418"/>
                  </a:cubicBezTo>
                  <a:cubicBezTo>
                    <a:pt x="79" y="417"/>
                    <a:pt x="80" y="416"/>
                    <a:pt x="80" y="415"/>
                  </a:cubicBezTo>
                  <a:cubicBezTo>
                    <a:pt x="80" y="412"/>
                    <a:pt x="78" y="408"/>
                    <a:pt x="78" y="403"/>
                  </a:cubicBezTo>
                  <a:cubicBezTo>
                    <a:pt x="78" y="399"/>
                    <a:pt x="75" y="393"/>
                    <a:pt x="75" y="393"/>
                  </a:cubicBezTo>
                  <a:cubicBezTo>
                    <a:pt x="75" y="392"/>
                    <a:pt x="78" y="389"/>
                    <a:pt x="79" y="388"/>
                  </a:cubicBezTo>
                  <a:cubicBezTo>
                    <a:pt x="80" y="387"/>
                    <a:pt x="79" y="385"/>
                    <a:pt x="79" y="383"/>
                  </a:cubicBezTo>
                  <a:cubicBezTo>
                    <a:pt x="79" y="381"/>
                    <a:pt x="84" y="375"/>
                    <a:pt x="86" y="375"/>
                  </a:cubicBezTo>
                  <a:cubicBezTo>
                    <a:pt x="87" y="375"/>
                    <a:pt x="87" y="378"/>
                    <a:pt x="87" y="378"/>
                  </a:cubicBezTo>
                  <a:cubicBezTo>
                    <a:pt x="89" y="380"/>
                    <a:pt x="90" y="378"/>
                    <a:pt x="91" y="378"/>
                  </a:cubicBezTo>
                  <a:cubicBezTo>
                    <a:pt x="95" y="379"/>
                    <a:pt x="94" y="384"/>
                    <a:pt x="98" y="384"/>
                  </a:cubicBezTo>
                  <a:cubicBezTo>
                    <a:pt x="100" y="384"/>
                    <a:pt x="100" y="383"/>
                    <a:pt x="100" y="381"/>
                  </a:cubicBezTo>
                  <a:cubicBezTo>
                    <a:pt x="100" y="376"/>
                    <a:pt x="96" y="376"/>
                    <a:pt x="95" y="371"/>
                  </a:cubicBezTo>
                  <a:cubicBezTo>
                    <a:pt x="92" y="371"/>
                    <a:pt x="93" y="369"/>
                    <a:pt x="92" y="368"/>
                  </a:cubicBezTo>
                  <a:cubicBezTo>
                    <a:pt x="90" y="367"/>
                    <a:pt x="85" y="367"/>
                    <a:pt x="84" y="366"/>
                  </a:cubicBezTo>
                  <a:cubicBezTo>
                    <a:pt x="83" y="368"/>
                    <a:pt x="81" y="369"/>
                    <a:pt x="79" y="369"/>
                  </a:cubicBezTo>
                  <a:cubicBezTo>
                    <a:pt x="77" y="369"/>
                    <a:pt x="58" y="368"/>
                    <a:pt x="58" y="367"/>
                  </a:cubicBezTo>
                  <a:cubicBezTo>
                    <a:pt x="58" y="363"/>
                    <a:pt x="61" y="362"/>
                    <a:pt x="62" y="360"/>
                  </a:cubicBezTo>
                  <a:cubicBezTo>
                    <a:pt x="63" y="360"/>
                    <a:pt x="65" y="356"/>
                    <a:pt x="66" y="355"/>
                  </a:cubicBezTo>
                  <a:cubicBezTo>
                    <a:pt x="67" y="351"/>
                    <a:pt x="72" y="350"/>
                    <a:pt x="72" y="346"/>
                  </a:cubicBezTo>
                  <a:cubicBezTo>
                    <a:pt x="72" y="344"/>
                    <a:pt x="71" y="341"/>
                    <a:pt x="70" y="340"/>
                  </a:cubicBezTo>
                  <a:lnTo>
                    <a:pt x="70" y="331"/>
                  </a:lnTo>
                  <a:cubicBezTo>
                    <a:pt x="68" y="327"/>
                    <a:pt x="62" y="328"/>
                    <a:pt x="62" y="323"/>
                  </a:cubicBezTo>
                  <a:cubicBezTo>
                    <a:pt x="62" y="318"/>
                    <a:pt x="67" y="319"/>
                    <a:pt x="70" y="319"/>
                  </a:cubicBezTo>
                  <a:cubicBezTo>
                    <a:pt x="72" y="318"/>
                    <a:pt x="73" y="316"/>
                    <a:pt x="75" y="316"/>
                  </a:cubicBezTo>
                  <a:cubicBezTo>
                    <a:pt x="81" y="316"/>
                    <a:pt x="86" y="315"/>
                    <a:pt x="85" y="308"/>
                  </a:cubicBezTo>
                  <a:lnTo>
                    <a:pt x="85" y="299"/>
                  </a:lnTo>
                  <a:cubicBezTo>
                    <a:pt x="81" y="296"/>
                    <a:pt x="79" y="295"/>
                    <a:pt x="75" y="295"/>
                  </a:cubicBezTo>
                  <a:cubicBezTo>
                    <a:pt x="70" y="295"/>
                    <a:pt x="72" y="300"/>
                    <a:pt x="62" y="299"/>
                  </a:cubicBezTo>
                  <a:cubicBezTo>
                    <a:pt x="57" y="299"/>
                    <a:pt x="55" y="291"/>
                    <a:pt x="52" y="291"/>
                  </a:cubicBezTo>
                  <a:cubicBezTo>
                    <a:pt x="50" y="285"/>
                    <a:pt x="44" y="282"/>
                    <a:pt x="44" y="277"/>
                  </a:cubicBezTo>
                  <a:cubicBezTo>
                    <a:pt x="44" y="275"/>
                    <a:pt x="45" y="274"/>
                    <a:pt x="45" y="273"/>
                  </a:cubicBezTo>
                  <a:cubicBezTo>
                    <a:pt x="47" y="272"/>
                    <a:pt x="49" y="275"/>
                    <a:pt x="49" y="272"/>
                  </a:cubicBezTo>
                  <a:cubicBezTo>
                    <a:pt x="50" y="269"/>
                    <a:pt x="55" y="269"/>
                    <a:pt x="59" y="268"/>
                  </a:cubicBezTo>
                  <a:cubicBezTo>
                    <a:pt x="62" y="268"/>
                    <a:pt x="62" y="266"/>
                    <a:pt x="62" y="263"/>
                  </a:cubicBezTo>
                  <a:cubicBezTo>
                    <a:pt x="62" y="261"/>
                    <a:pt x="60" y="260"/>
                    <a:pt x="60" y="257"/>
                  </a:cubicBezTo>
                  <a:cubicBezTo>
                    <a:pt x="60" y="252"/>
                    <a:pt x="64" y="253"/>
                    <a:pt x="65" y="251"/>
                  </a:cubicBezTo>
                  <a:cubicBezTo>
                    <a:pt x="66" y="248"/>
                    <a:pt x="65" y="246"/>
                    <a:pt x="66" y="243"/>
                  </a:cubicBezTo>
                  <a:cubicBezTo>
                    <a:pt x="66" y="242"/>
                    <a:pt x="70" y="242"/>
                    <a:pt x="71" y="241"/>
                  </a:cubicBezTo>
                  <a:cubicBezTo>
                    <a:pt x="74" y="237"/>
                    <a:pt x="74" y="231"/>
                    <a:pt x="74" y="223"/>
                  </a:cubicBezTo>
                  <a:lnTo>
                    <a:pt x="75" y="216"/>
                  </a:lnTo>
                  <a:cubicBezTo>
                    <a:pt x="77" y="211"/>
                    <a:pt x="73" y="213"/>
                    <a:pt x="72" y="208"/>
                  </a:cubicBezTo>
                  <a:cubicBezTo>
                    <a:pt x="72" y="206"/>
                    <a:pt x="74" y="204"/>
                    <a:pt x="74" y="201"/>
                  </a:cubicBezTo>
                  <a:cubicBezTo>
                    <a:pt x="74" y="193"/>
                    <a:pt x="68" y="184"/>
                    <a:pt x="66" y="179"/>
                  </a:cubicBezTo>
                  <a:lnTo>
                    <a:pt x="66" y="174"/>
                  </a:lnTo>
                  <a:cubicBezTo>
                    <a:pt x="69" y="174"/>
                    <a:pt x="70" y="172"/>
                    <a:pt x="70" y="169"/>
                  </a:cubicBezTo>
                  <a:cubicBezTo>
                    <a:pt x="70" y="168"/>
                    <a:pt x="68" y="166"/>
                    <a:pt x="68" y="166"/>
                  </a:cubicBezTo>
                  <a:cubicBezTo>
                    <a:pt x="66" y="163"/>
                    <a:pt x="67" y="161"/>
                    <a:pt x="67" y="161"/>
                  </a:cubicBezTo>
                  <a:cubicBezTo>
                    <a:pt x="68" y="153"/>
                    <a:pt x="64" y="166"/>
                    <a:pt x="62" y="158"/>
                  </a:cubicBezTo>
                  <a:cubicBezTo>
                    <a:pt x="60" y="156"/>
                    <a:pt x="59" y="154"/>
                    <a:pt x="59" y="152"/>
                  </a:cubicBezTo>
                  <a:cubicBezTo>
                    <a:pt x="59" y="150"/>
                    <a:pt x="59" y="144"/>
                    <a:pt x="58" y="143"/>
                  </a:cubicBezTo>
                  <a:cubicBezTo>
                    <a:pt x="57" y="140"/>
                    <a:pt x="54" y="139"/>
                    <a:pt x="52" y="138"/>
                  </a:cubicBezTo>
                  <a:cubicBezTo>
                    <a:pt x="52" y="138"/>
                    <a:pt x="51" y="139"/>
                    <a:pt x="50" y="139"/>
                  </a:cubicBezTo>
                  <a:cubicBezTo>
                    <a:pt x="45" y="139"/>
                    <a:pt x="43" y="127"/>
                    <a:pt x="43" y="124"/>
                  </a:cubicBezTo>
                  <a:cubicBezTo>
                    <a:pt x="42" y="121"/>
                    <a:pt x="42" y="118"/>
                    <a:pt x="41" y="117"/>
                  </a:cubicBezTo>
                  <a:cubicBezTo>
                    <a:pt x="39" y="117"/>
                    <a:pt x="38" y="118"/>
                    <a:pt x="37" y="117"/>
                  </a:cubicBezTo>
                  <a:cubicBezTo>
                    <a:pt x="35" y="117"/>
                    <a:pt x="35" y="116"/>
                    <a:pt x="34" y="115"/>
                  </a:cubicBezTo>
                  <a:cubicBezTo>
                    <a:pt x="33" y="112"/>
                    <a:pt x="34" y="108"/>
                    <a:pt x="33" y="105"/>
                  </a:cubicBezTo>
                  <a:cubicBezTo>
                    <a:pt x="32" y="101"/>
                    <a:pt x="30" y="100"/>
                    <a:pt x="29" y="96"/>
                  </a:cubicBezTo>
                  <a:cubicBezTo>
                    <a:pt x="30" y="96"/>
                    <a:pt x="32" y="95"/>
                    <a:pt x="32" y="93"/>
                  </a:cubicBezTo>
                  <a:cubicBezTo>
                    <a:pt x="32" y="92"/>
                    <a:pt x="30" y="91"/>
                    <a:pt x="30" y="90"/>
                  </a:cubicBezTo>
                  <a:cubicBezTo>
                    <a:pt x="34" y="88"/>
                    <a:pt x="34" y="83"/>
                    <a:pt x="35" y="78"/>
                  </a:cubicBezTo>
                  <a:cubicBezTo>
                    <a:pt x="36" y="72"/>
                    <a:pt x="29" y="76"/>
                    <a:pt x="27" y="69"/>
                  </a:cubicBezTo>
                  <a:cubicBezTo>
                    <a:pt x="27" y="67"/>
                    <a:pt x="25" y="72"/>
                    <a:pt x="23" y="72"/>
                  </a:cubicBezTo>
                  <a:cubicBezTo>
                    <a:pt x="21" y="72"/>
                    <a:pt x="21" y="68"/>
                    <a:pt x="21" y="67"/>
                  </a:cubicBezTo>
                  <a:cubicBezTo>
                    <a:pt x="19" y="64"/>
                    <a:pt x="13" y="68"/>
                    <a:pt x="13" y="63"/>
                  </a:cubicBezTo>
                  <a:cubicBezTo>
                    <a:pt x="13" y="61"/>
                    <a:pt x="17" y="62"/>
                    <a:pt x="17" y="60"/>
                  </a:cubicBezTo>
                  <a:cubicBezTo>
                    <a:pt x="17" y="58"/>
                    <a:pt x="15" y="57"/>
                    <a:pt x="14" y="57"/>
                  </a:cubicBezTo>
                  <a:cubicBezTo>
                    <a:pt x="12" y="57"/>
                    <a:pt x="11" y="59"/>
                    <a:pt x="10" y="60"/>
                  </a:cubicBezTo>
                  <a:cubicBezTo>
                    <a:pt x="5" y="61"/>
                    <a:pt x="8" y="55"/>
                    <a:pt x="8" y="55"/>
                  </a:cubicBezTo>
                  <a:cubicBezTo>
                    <a:pt x="9" y="55"/>
                    <a:pt x="10" y="54"/>
                    <a:pt x="10" y="53"/>
                  </a:cubicBezTo>
                  <a:cubicBezTo>
                    <a:pt x="10" y="50"/>
                    <a:pt x="5" y="50"/>
                    <a:pt x="5" y="47"/>
                  </a:cubicBezTo>
                  <a:cubicBezTo>
                    <a:pt x="5" y="45"/>
                    <a:pt x="8" y="44"/>
                    <a:pt x="7" y="43"/>
                  </a:cubicBezTo>
                  <a:cubicBezTo>
                    <a:pt x="3" y="40"/>
                    <a:pt x="5" y="38"/>
                    <a:pt x="5" y="36"/>
                  </a:cubicBezTo>
                  <a:cubicBezTo>
                    <a:pt x="5" y="34"/>
                    <a:pt x="1" y="33"/>
                    <a:pt x="0" y="32"/>
                  </a:cubicBezTo>
                  <a:lnTo>
                    <a:pt x="29" y="0"/>
                  </a:lnTo>
                  <a:lnTo>
                    <a:pt x="143" y="0"/>
                  </a:lnTo>
                  <a:cubicBezTo>
                    <a:pt x="147" y="1"/>
                    <a:pt x="145" y="8"/>
                    <a:pt x="145" y="8"/>
                  </a:cubicBezTo>
                  <a:lnTo>
                    <a:pt x="152" y="14"/>
                  </a:lnTo>
                  <a:lnTo>
                    <a:pt x="151" y="107"/>
                  </a:lnTo>
                  <a:cubicBezTo>
                    <a:pt x="153" y="109"/>
                    <a:pt x="155" y="110"/>
                    <a:pt x="157" y="110"/>
                  </a:cubicBezTo>
                  <a:cubicBezTo>
                    <a:pt x="159" y="110"/>
                    <a:pt x="159" y="110"/>
                    <a:pt x="159" y="113"/>
                  </a:cubicBezTo>
                  <a:cubicBezTo>
                    <a:pt x="159" y="116"/>
                    <a:pt x="159" y="117"/>
                    <a:pt x="159" y="123"/>
                  </a:cubicBezTo>
                  <a:cubicBezTo>
                    <a:pt x="159" y="123"/>
                    <a:pt x="158" y="125"/>
                    <a:pt x="158" y="126"/>
                  </a:cubicBezTo>
                  <a:cubicBezTo>
                    <a:pt x="158" y="129"/>
                    <a:pt x="161" y="130"/>
                    <a:pt x="163" y="130"/>
                  </a:cubicBezTo>
                  <a:cubicBezTo>
                    <a:pt x="164" y="130"/>
                    <a:pt x="164" y="129"/>
                    <a:pt x="166" y="129"/>
                  </a:cubicBezTo>
                  <a:cubicBezTo>
                    <a:pt x="168" y="129"/>
                    <a:pt x="168" y="132"/>
                    <a:pt x="169" y="134"/>
                  </a:cubicBezTo>
                  <a:cubicBezTo>
                    <a:pt x="170" y="135"/>
                    <a:pt x="173" y="138"/>
                    <a:pt x="175" y="138"/>
                  </a:cubicBezTo>
                  <a:cubicBezTo>
                    <a:pt x="177" y="138"/>
                    <a:pt x="179" y="142"/>
                    <a:pt x="179" y="144"/>
                  </a:cubicBezTo>
                  <a:cubicBezTo>
                    <a:pt x="179" y="148"/>
                    <a:pt x="181" y="148"/>
                    <a:pt x="182" y="150"/>
                  </a:cubicBezTo>
                  <a:cubicBezTo>
                    <a:pt x="182" y="153"/>
                    <a:pt x="181" y="155"/>
                    <a:pt x="182" y="157"/>
                  </a:cubicBezTo>
                  <a:cubicBezTo>
                    <a:pt x="182" y="157"/>
                    <a:pt x="188" y="162"/>
                    <a:pt x="188" y="163"/>
                  </a:cubicBezTo>
                  <a:cubicBezTo>
                    <a:pt x="189" y="167"/>
                    <a:pt x="188" y="167"/>
                    <a:pt x="188" y="169"/>
                  </a:cubicBezTo>
                  <a:cubicBezTo>
                    <a:pt x="188" y="172"/>
                    <a:pt x="189" y="175"/>
                    <a:pt x="194" y="174"/>
                  </a:cubicBezTo>
                  <a:cubicBezTo>
                    <a:pt x="199" y="174"/>
                    <a:pt x="200" y="171"/>
                    <a:pt x="200" y="166"/>
                  </a:cubicBezTo>
                  <a:cubicBezTo>
                    <a:pt x="200" y="166"/>
                    <a:pt x="200" y="165"/>
                    <a:pt x="201" y="164"/>
                  </a:cubicBezTo>
                  <a:cubicBezTo>
                    <a:pt x="201" y="164"/>
                    <a:pt x="201" y="164"/>
                    <a:pt x="202" y="164"/>
                  </a:cubicBezTo>
                  <a:cubicBezTo>
                    <a:pt x="206" y="164"/>
                    <a:pt x="204" y="169"/>
                    <a:pt x="205" y="172"/>
                  </a:cubicBezTo>
                  <a:cubicBezTo>
                    <a:pt x="206" y="176"/>
                    <a:pt x="209" y="183"/>
                    <a:pt x="211" y="185"/>
                  </a:cubicBezTo>
                  <a:cubicBezTo>
                    <a:pt x="215" y="188"/>
                    <a:pt x="216" y="192"/>
                    <a:pt x="218" y="195"/>
                  </a:cubicBezTo>
                  <a:cubicBezTo>
                    <a:pt x="220" y="199"/>
                    <a:pt x="216" y="205"/>
                    <a:pt x="223" y="205"/>
                  </a:cubicBezTo>
                  <a:cubicBezTo>
                    <a:pt x="226" y="205"/>
                    <a:pt x="230" y="205"/>
                    <a:pt x="232" y="205"/>
                  </a:cubicBezTo>
                  <a:cubicBezTo>
                    <a:pt x="237" y="205"/>
                    <a:pt x="237" y="210"/>
                    <a:pt x="240" y="212"/>
                  </a:cubicBezTo>
                  <a:cubicBezTo>
                    <a:pt x="241" y="212"/>
                    <a:pt x="244" y="215"/>
                    <a:pt x="244" y="219"/>
                  </a:cubicBezTo>
                  <a:cubicBezTo>
                    <a:pt x="244" y="223"/>
                    <a:pt x="250" y="222"/>
                    <a:pt x="251" y="225"/>
                  </a:cubicBezTo>
                  <a:cubicBezTo>
                    <a:pt x="252" y="227"/>
                    <a:pt x="252" y="230"/>
                    <a:pt x="253" y="232"/>
                  </a:cubicBezTo>
                  <a:cubicBezTo>
                    <a:pt x="253" y="234"/>
                    <a:pt x="258" y="236"/>
                    <a:pt x="259" y="238"/>
                  </a:cubicBezTo>
                  <a:cubicBezTo>
                    <a:pt x="262" y="242"/>
                    <a:pt x="259" y="254"/>
                    <a:pt x="267" y="252"/>
                  </a:cubicBezTo>
                  <a:cubicBezTo>
                    <a:pt x="274" y="251"/>
                    <a:pt x="278" y="247"/>
                    <a:pt x="285" y="247"/>
                  </a:cubicBezTo>
                  <a:cubicBezTo>
                    <a:pt x="289" y="246"/>
                    <a:pt x="290" y="250"/>
                    <a:pt x="292" y="252"/>
                  </a:cubicBezTo>
                  <a:lnTo>
                    <a:pt x="292" y="260"/>
                  </a:lnTo>
                  <a:cubicBezTo>
                    <a:pt x="293" y="263"/>
                    <a:pt x="293" y="266"/>
                    <a:pt x="294" y="268"/>
                  </a:cubicBezTo>
                  <a:cubicBezTo>
                    <a:pt x="296" y="270"/>
                    <a:pt x="298" y="271"/>
                    <a:pt x="299" y="274"/>
                  </a:cubicBezTo>
                  <a:cubicBezTo>
                    <a:pt x="300" y="277"/>
                    <a:pt x="299" y="279"/>
                    <a:pt x="299" y="282"/>
                  </a:cubicBezTo>
                  <a:cubicBezTo>
                    <a:pt x="299" y="289"/>
                    <a:pt x="302" y="294"/>
                    <a:pt x="302" y="300"/>
                  </a:cubicBezTo>
                  <a:cubicBezTo>
                    <a:pt x="302" y="301"/>
                    <a:pt x="302" y="302"/>
                    <a:pt x="300" y="302"/>
                  </a:cubicBezTo>
                  <a:cubicBezTo>
                    <a:pt x="299" y="302"/>
                    <a:pt x="298" y="301"/>
                    <a:pt x="298" y="301"/>
                  </a:cubicBezTo>
                  <a:cubicBezTo>
                    <a:pt x="295" y="302"/>
                    <a:pt x="295" y="307"/>
                    <a:pt x="291" y="307"/>
                  </a:cubicBezTo>
                  <a:cubicBezTo>
                    <a:pt x="290" y="307"/>
                    <a:pt x="290" y="306"/>
                    <a:pt x="289" y="306"/>
                  </a:cubicBezTo>
                  <a:cubicBezTo>
                    <a:pt x="286" y="306"/>
                    <a:pt x="286" y="309"/>
                    <a:pt x="285" y="310"/>
                  </a:cubicBezTo>
                  <a:cubicBezTo>
                    <a:pt x="282" y="311"/>
                    <a:pt x="279" y="308"/>
                    <a:pt x="276" y="309"/>
                  </a:cubicBezTo>
                  <a:cubicBezTo>
                    <a:pt x="271" y="311"/>
                    <a:pt x="270" y="318"/>
                    <a:pt x="263" y="318"/>
                  </a:cubicBezTo>
                  <a:cubicBezTo>
                    <a:pt x="261" y="318"/>
                    <a:pt x="261" y="316"/>
                    <a:pt x="259" y="316"/>
                  </a:cubicBezTo>
                  <a:cubicBezTo>
                    <a:pt x="257" y="316"/>
                    <a:pt x="255" y="318"/>
                    <a:pt x="253" y="318"/>
                  </a:cubicBezTo>
                  <a:cubicBezTo>
                    <a:pt x="251" y="318"/>
                    <a:pt x="248" y="313"/>
                    <a:pt x="248" y="312"/>
                  </a:cubicBezTo>
                  <a:cubicBezTo>
                    <a:pt x="246" y="308"/>
                    <a:pt x="245" y="304"/>
                    <a:pt x="241" y="304"/>
                  </a:cubicBezTo>
                  <a:cubicBezTo>
                    <a:pt x="240" y="304"/>
                    <a:pt x="239" y="305"/>
                    <a:pt x="238" y="305"/>
                  </a:cubicBezTo>
                  <a:cubicBezTo>
                    <a:pt x="235" y="305"/>
                    <a:pt x="234" y="301"/>
                    <a:pt x="231" y="301"/>
                  </a:cubicBezTo>
                  <a:cubicBezTo>
                    <a:pt x="227" y="301"/>
                    <a:pt x="226" y="304"/>
                    <a:pt x="224" y="304"/>
                  </a:cubicBezTo>
                  <a:cubicBezTo>
                    <a:pt x="222" y="304"/>
                    <a:pt x="220" y="303"/>
                    <a:pt x="219" y="304"/>
                  </a:cubicBezTo>
                  <a:cubicBezTo>
                    <a:pt x="217" y="305"/>
                    <a:pt x="219" y="307"/>
                    <a:pt x="218" y="309"/>
                  </a:cubicBezTo>
                  <a:cubicBezTo>
                    <a:pt x="217" y="312"/>
                    <a:pt x="214" y="313"/>
                    <a:pt x="214" y="316"/>
                  </a:cubicBezTo>
                  <a:cubicBezTo>
                    <a:pt x="214" y="318"/>
                    <a:pt x="217" y="318"/>
                    <a:pt x="218" y="318"/>
                  </a:cubicBezTo>
                  <a:cubicBezTo>
                    <a:pt x="221" y="318"/>
                    <a:pt x="232" y="320"/>
                    <a:pt x="236" y="322"/>
                  </a:cubicBezTo>
                  <a:lnTo>
                    <a:pt x="245" y="322"/>
                  </a:lnTo>
                  <a:cubicBezTo>
                    <a:pt x="252" y="320"/>
                    <a:pt x="248" y="329"/>
                    <a:pt x="252" y="335"/>
                  </a:cubicBezTo>
                  <a:cubicBezTo>
                    <a:pt x="254" y="338"/>
                    <a:pt x="252" y="342"/>
                    <a:pt x="251" y="344"/>
                  </a:cubicBezTo>
                  <a:cubicBezTo>
                    <a:pt x="249" y="347"/>
                    <a:pt x="252" y="347"/>
                    <a:pt x="248" y="350"/>
                  </a:cubicBezTo>
                  <a:cubicBezTo>
                    <a:pt x="243" y="354"/>
                    <a:pt x="242" y="357"/>
                    <a:pt x="239" y="360"/>
                  </a:cubicBezTo>
                  <a:cubicBezTo>
                    <a:pt x="236" y="361"/>
                    <a:pt x="233" y="359"/>
                    <a:pt x="232" y="362"/>
                  </a:cubicBezTo>
                  <a:cubicBezTo>
                    <a:pt x="230" y="363"/>
                    <a:pt x="225" y="367"/>
                    <a:pt x="225" y="372"/>
                  </a:cubicBezTo>
                  <a:cubicBezTo>
                    <a:pt x="225" y="374"/>
                    <a:pt x="225" y="377"/>
                    <a:pt x="225" y="380"/>
                  </a:cubicBezTo>
                  <a:cubicBezTo>
                    <a:pt x="225" y="385"/>
                    <a:pt x="222" y="387"/>
                    <a:pt x="218" y="387"/>
                  </a:cubicBezTo>
                  <a:cubicBezTo>
                    <a:pt x="215" y="387"/>
                    <a:pt x="212" y="384"/>
                    <a:pt x="212" y="381"/>
                  </a:cubicBezTo>
                  <a:cubicBezTo>
                    <a:pt x="212" y="379"/>
                    <a:pt x="213" y="378"/>
                    <a:pt x="213" y="377"/>
                  </a:cubicBezTo>
                  <a:cubicBezTo>
                    <a:pt x="213" y="374"/>
                    <a:pt x="210" y="374"/>
                    <a:pt x="209" y="374"/>
                  </a:cubicBezTo>
                  <a:cubicBezTo>
                    <a:pt x="204" y="374"/>
                    <a:pt x="202" y="376"/>
                    <a:pt x="197" y="376"/>
                  </a:cubicBezTo>
                  <a:cubicBezTo>
                    <a:pt x="194" y="376"/>
                    <a:pt x="190" y="375"/>
                    <a:pt x="190" y="372"/>
                  </a:cubicBezTo>
                  <a:cubicBezTo>
                    <a:pt x="190" y="366"/>
                    <a:pt x="191" y="369"/>
                    <a:pt x="195" y="366"/>
                  </a:cubicBezTo>
                  <a:cubicBezTo>
                    <a:pt x="202" y="360"/>
                    <a:pt x="193" y="364"/>
                    <a:pt x="193" y="362"/>
                  </a:cubicBezTo>
                  <a:cubicBezTo>
                    <a:pt x="193" y="360"/>
                    <a:pt x="192" y="361"/>
                    <a:pt x="190" y="360"/>
                  </a:cubicBezTo>
                  <a:cubicBezTo>
                    <a:pt x="189" y="360"/>
                    <a:pt x="188" y="360"/>
                    <a:pt x="188" y="360"/>
                  </a:cubicBezTo>
                  <a:cubicBezTo>
                    <a:pt x="186" y="358"/>
                    <a:pt x="187" y="355"/>
                    <a:pt x="185" y="355"/>
                  </a:cubicBezTo>
                  <a:cubicBezTo>
                    <a:pt x="183" y="355"/>
                    <a:pt x="180" y="359"/>
                    <a:pt x="179" y="360"/>
                  </a:cubicBezTo>
                  <a:cubicBezTo>
                    <a:pt x="176" y="362"/>
                    <a:pt x="174" y="360"/>
                    <a:pt x="172" y="362"/>
                  </a:cubicBezTo>
                  <a:cubicBezTo>
                    <a:pt x="167" y="366"/>
                    <a:pt x="165" y="373"/>
                    <a:pt x="165" y="383"/>
                  </a:cubicBezTo>
                  <a:cubicBezTo>
                    <a:pt x="165" y="393"/>
                    <a:pt x="170" y="395"/>
                    <a:pt x="173" y="395"/>
                  </a:cubicBezTo>
                  <a:cubicBezTo>
                    <a:pt x="184" y="394"/>
                    <a:pt x="176" y="406"/>
                    <a:pt x="179" y="409"/>
                  </a:cubicBezTo>
                  <a:cubicBezTo>
                    <a:pt x="180" y="410"/>
                    <a:pt x="184" y="411"/>
                    <a:pt x="185" y="411"/>
                  </a:cubicBezTo>
                  <a:cubicBezTo>
                    <a:pt x="188" y="413"/>
                    <a:pt x="189" y="416"/>
                    <a:pt x="189" y="421"/>
                  </a:cubicBezTo>
                  <a:cubicBezTo>
                    <a:pt x="189" y="424"/>
                    <a:pt x="188" y="424"/>
                    <a:pt x="188" y="426"/>
                  </a:cubicBezTo>
                  <a:cubicBezTo>
                    <a:pt x="188" y="428"/>
                    <a:pt x="189" y="428"/>
                    <a:pt x="190" y="430"/>
                  </a:cubicBezTo>
                  <a:cubicBezTo>
                    <a:pt x="190" y="431"/>
                    <a:pt x="190" y="438"/>
                    <a:pt x="192" y="441"/>
                  </a:cubicBezTo>
                  <a:cubicBezTo>
                    <a:pt x="193" y="442"/>
                    <a:pt x="195" y="443"/>
                    <a:pt x="195" y="445"/>
                  </a:cubicBezTo>
                  <a:cubicBezTo>
                    <a:pt x="195" y="449"/>
                    <a:pt x="193" y="450"/>
                    <a:pt x="191" y="451"/>
                  </a:cubicBezTo>
                  <a:cubicBezTo>
                    <a:pt x="189" y="453"/>
                    <a:pt x="185" y="464"/>
                    <a:pt x="188" y="463"/>
                  </a:cubicBezTo>
                  <a:cubicBezTo>
                    <a:pt x="195" y="463"/>
                    <a:pt x="199" y="464"/>
                    <a:pt x="203" y="469"/>
                  </a:cubicBezTo>
                  <a:cubicBezTo>
                    <a:pt x="204" y="470"/>
                    <a:pt x="204" y="472"/>
                    <a:pt x="205" y="472"/>
                  </a:cubicBezTo>
                  <a:cubicBezTo>
                    <a:pt x="207" y="473"/>
                    <a:pt x="211" y="472"/>
                    <a:pt x="213" y="474"/>
                  </a:cubicBezTo>
                  <a:cubicBezTo>
                    <a:pt x="213" y="475"/>
                    <a:pt x="214" y="480"/>
                    <a:pt x="215" y="480"/>
                  </a:cubicBezTo>
                  <a:cubicBezTo>
                    <a:pt x="217" y="480"/>
                    <a:pt x="218" y="478"/>
                    <a:pt x="219" y="478"/>
                  </a:cubicBezTo>
                  <a:cubicBezTo>
                    <a:pt x="222" y="478"/>
                    <a:pt x="221" y="481"/>
                    <a:pt x="221" y="483"/>
                  </a:cubicBezTo>
                  <a:cubicBezTo>
                    <a:pt x="221" y="490"/>
                    <a:pt x="231" y="494"/>
                    <a:pt x="234" y="499"/>
                  </a:cubicBezTo>
                  <a:cubicBezTo>
                    <a:pt x="237" y="505"/>
                    <a:pt x="234" y="517"/>
                    <a:pt x="242" y="517"/>
                  </a:cubicBezTo>
                  <a:cubicBezTo>
                    <a:pt x="245" y="517"/>
                    <a:pt x="246" y="523"/>
                    <a:pt x="251" y="522"/>
                  </a:cubicBezTo>
                  <a:cubicBezTo>
                    <a:pt x="258" y="526"/>
                    <a:pt x="262" y="528"/>
                    <a:pt x="267" y="533"/>
                  </a:cubicBezTo>
                  <a:cubicBezTo>
                    <a:pt x="272" y="536"/>
                    <a:pt x="274" y="533"/>
                    <a:pt x="278" y="536"/>
                  </a:cubicBezTo>
                  <a:cubicBezTo>
                    <a:pt x="277" y="538"/>
                    <a:pt x="275" y="537"/>
                    <a:pt x="275" y="538"/>
                  </a:cubicBezTo>
                  <a:lnTo>
                    <a:pt x="273" y="544"/>
                  </a:lnTo>
                  <a:cubicBezTo>
                    <a:pt x="273" y="546"/>
                    <a:pt x="269" y="546"/>
                    <a:pt x="269" y="549"/>
                  </a:cubicBezTo>
                  <a:cubicBezTo>
                    <a:pt x="269" y="551"/>
                    <a:pt x="271" y="551"/>
                    <a:pt x="272" y="552"/>
                  </a:cubicBezTo>
                  <a:cubicBezTo>
                    <a:pt x="274" y="558"/>
                    <a:pt x="278" y="560"/>
                    <a:pt x="281" y="565"/>
                  </a:cubicBezTo>
                  <a:cubicBezTo>
                    <a:pt x="284" y="570"/>
                    <a:pt x="292" y="576"/>
                    <a:pt x="292" y="581"/>
                  </a:cubicBezTo>
                  <a:cubicBezTo>
                    <a:pt x="292" y="585"/>
                    <a:pt x="292" y="587"/>
                    <a:pt x="291" y="590"/>
                  </a:cubicBezTo>
                  <a:cubicBezTo>
                    <a:pt x="289" y="595"/>
                    <a:pt x="288" y="598"/>
                    <a:pt x="287" y="606"/>
                  </a:cubicBezTo>
                  <a:cubicBezTo>
                    <a:pt x="287" y="609"/>
                    <a:pt x="288" y="616"/>
                    <a:pt x="285" y="614"/>
                  </a:cubicBezTo>
                  <a:cubicBezTo>
                    <a:pt x="279" y="614"/>
                    <a:pt x="277" y="615"/>
                    <a:pt x="274" y="615"/>
                  </a:cubicBezTo>
                  <a:lnTo>
                    <a:pt x="273" y="605"/>
                  </a:lnTo>
                  <a:cubicBezTo>
                    <a:pt x="270" y="604"/>
                    <a:pt x="268" y="601"/>
                    <a:pt x="265" y="599"/>
                  </a:cubicBezTo>
                  <a:cubicBezTo>
                    <a:pt x="260" y="596"/>
                    <a:pt x="253" y="595"/>
                    <a:pt x="249" y="592"/>
                  </a:cubicBezTo>
                  <a:lnTo>
                    <a:pt x="104" y="505"/>
                  </a:lnTo>
                  <a:lnTo>
                    <a:pt x="56" y="476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2359" y="2636"/>
              <a:ext cx="163" cy="103"/>
            </a:xfrm>
            <a:custGeom>
              <a:avLst/>
              <a:gdLst>
                <a:gd name="T0" fmla="*/ 0 w 33"/>
                <a:gd name="T1" fmla="*/ 59 h 21"/>
                <a:gd name="T2" fmla="*/ 49 w 33"/>
                <a:gd name="T3" fmla="*/ 10 h 21"/>
                <a:gd name="T4" fmla="*/ 69 w 33"/>
                <a:gd name="T5" fmla="*/ 10 h 21"/>
                <a:gd name="T6" fmla="*/ 104 w 33"/>
                <a:gd name="T7" fmla="*/ 0 h 21"/>
                <a:gd name="T8" fmla="*/ 153 w 33"/>
                <a:gd name="T9" fmla="*/ 25 h 21"/>
                <a:gd name="T10" fmla="*/ 163 w 33"/>
                <a:gd name="T11" fmla="*/ 34 h 21"/>
                <a:gd name="T12" fmla="*/ 148 w 33"/>
                <a:gd name="T13" fmla="*/ 64 h 21"/>
                <a:gd name="T14" fmla="*/ 109 w 33"/>
                <a:gd name="T15" fmla="*/ 59 h 21"/>
                <a:gd name="T16" fmla="*/ 89 w 33"/>
                <a:gd name="T17" fmla="*/ 88 h 21"/>
                <a:gd name="T18" fmla="*/ 89 w 33"/>
                <a:gd name="T19" fmla="*/ 93 h 21"/>
                <a:gd name="T20" fmla="*/ 64 w 33"/>
                <a:gd name="T21" fmla="*/ 98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21"/>
                <a:gd name="T35" fmla="*/ 33 w 33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21">
                  <a:moveTo>
                    <a:pt x="0" y="12"/>
                  </a:moveTo>
                  <a:cubicBezTo>
                    <a:pt x="2" y="10"/>
                    <a:pt x="8" y="2"/>
                    <a:pt x="10" y="2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6" y="2"/>
                    <a:pt x="18" y="0"/>
                    <a:pt x="21" y="0"/>
                  </a:cubicBezTo>
                  <a:cubicBezTo>
                    <a:pt x="22" y="6"/>
                    <a:pt x="23" y="6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3" y="10"/>
                    <a:pt x="31" y="11"/>
                    <a:pt x="30" y="13"/>
                  </a:cubicBezTo>
                  <a:cubicBezTo>
                    <a:pt x="29" y="14"/>
                    <a:pt x="24" y="10"/>
                    <a:pt x="22" y="12"/>
                  </a:cubicBezTo>
                  <a:cubicBezTo>
                    <a:pt x="22" y="12"/>
                    <a:pt x="18" y="16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21"/>
                    <a:pt x="15" y="20"/>
                    <a:pt x="13" y="20"/>
                  </a:cubicBezTo>
                </a:path>
              </a:pathLst>
            </a:custGeom>
            <a:grpFill/>
            <a:ln w="0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1364" y="2360"/>
              <a:ext cx="39" cy="29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gray">
            <a:xfrm>
              <a:off x="1423" y="2330"/>
              <a:ext cx="39" cy="35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6" name="Group 39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808121" y="1778428"/>
            <a:ext cx="848160" cy="550138"/>
            <a:chOff x="2330" y="602"/>
            <a:chExt cx="589" cy="382"/>
          </a:xfrm>
          <a:solidFill>
            <a:sysClr val="window" lastClr="FFFFFF">
              <a:lumMod val="85000"/>
            </a:sysClr>
          </a:solidFill>
        </p:grpSpPr>
        <p:sp>
          <p:nvSpPr>
            <p:cNvPr id="37" name="Freeform 40"/>
            <p:cNvSpPr>
              <a:spLocks/>
            </p:cNvSpPr>
            <p:nvPr/>
          </p:nvSpPr>
          <p:spPr bwMode="gray">
            <a:xfrm>
              <a:off x="2341" y="602"/>
              <a:ext cx="578" cy="319"/>
            </a:xfrm>
            <a:custGeom>
              <a:avLst/>
              <a:gdLst>
                <a:gd name="T0" fmla="*/ 5 w 578"/>
                <a:gd name="T1" fmla="*/ 306 h 319"/>
                <a:gd name="T2" fmla="*/ 228 w 578"/>
                <a:gd name="T3" fmla="*/ 104 h 319"/>
                <a:gd name="T4" fmla="*/ 276 w 578"/>
                <a:gd name="T5" fmla="*/ 64 h 319"/>
                <a:gd name="T6" fmla="*/ 304 w 578"/>
                <a:gd name="T7" fmla="*/ 0 h 319"/>
                <a:gd name="T8" fmla="*/ 352 w 578"/>
                <a:gd name="T9" fmla="*/ 0 h 319"/>
                <a:gd name="T10" fmla="*/ 412 w 578"/>
                <a:gd name="T11" fmla="*/ 0 h 319"/>
                <a:gd name="T12" fmla="*/ 428 w 578"/>
                <a:gd name="T13" fmla="*/ 24 h 319"/>
                <a:gd name="T14" fmla="*/ 452 w 578"/>
                <a:gd name="T15" fmla="*/ 8 h 319"/>
                <a:gd name="T16" fmla="*/ 500 w 578"/>
                <a:gd name="T17" fmla="*/ 36 h 319"/>
                <a:gd name="T18" fmla="*/ 500 w 578"/>
                <a:gd name="T19" fmla="*/ 68 h 319"/>
                <a:gd name="T20" fmla="*/ 508 w 578"/>
                <a:gd name="T21" fmla="*/ 112 h 319"/>
                <a:gd name="T22" fmla="*/ 492 w 578"/>
                <a:gd name="T23" fmla="*/ 224 h 319"/>
                <a:gd name="T24" fmla="*/ 538 w 578"/>
                <a:gd name="T25" fmla="*/ 265 h 319"/>
                <a:gd name="T26" fmla="*/ 547 w 578"/>
                <a:gd name="T27" fmla="*/ 264 h 319"/>
                <a:gd name="T28" fmla="*/ 553 w 578"/>
                <a:gd name="T29" fmla="*/ 273 h 319"/>
                <a:gd name="T30" fmla="*/ 554 w 578"/>
                <a:gd name="T31" fmla="*/ 283 h 319"/>
                <a:gd name="T32" fmla="*/ 554 w 578"/>
                <a:gd name="T33" fmla="*/ 295 h 319"/>
                <a:gd name="T34" fmla="*/ 578 w 578"/>
                <a:gd name="T35" fmla="*/ 319 h 319"/>
                <a:gd name="T36" fmla="*/ 0 w 578"/>
                <a:gd name="T37" fmla="*/ 312 h 3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8"/>
                <a:gd name="T58" fmla="*/ 0 h 319"/>
                <a:gd name="T59" fmla="*/ 578 w 578"/>
                <a:gd name="T60" fmla="*/ 319 h 3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8" h="319">
                  <a:moveTo>
                    <a:pt x="5" y="306"/>
                  </a:moveTo>
                  <a:lnTo>
                    <a:pt x="228" y="104"/>
                  </a:lnTo>
                  <a:lnTo>
                    <a:pt x="276" y="64"/>
                  </a:lnTo>
                  <a:lnTo>
                    <a:pt x="304" y="0"/>
                  </a:lnTo>
                  <a:lnTo>
                    <a:pt x="352" y="0"/>
                  </a:lnTo>
                  <a:lnTo>
                    <a:pt x="412" y="0"/>
                  </a:lnTo>
                  <a:lnTo>
                    <a:pt x="428" y="24"/>
                  </a:lnTo>
                  <a:lnTo>
                    <a:pt x="452" y="8"/>
                  </a:lnTo>
                  <a:lnTo>
                    <a:pt x="500" y="36"/>
                  </a:lnTo>
                  <a:lnTo>
                    <a:pt x="500" y="68"/>
                  </a:lnTo>
                  <a:lnTo>
                    <a:pt x="508" y="112"/>
                  </a:lnTo>
                  <a:lnTo>
                    <a:pt x="492" y="224"/>
                  </a:lnTo>
                  <a:lnTo>
                    <a:pt x="538" y="265"/>
                  </a:lnTo>
                  <a:lnTo>
                    <a:pt x="547" y="264"/>
                  </a:lnTo>
                  <a:lnTo>
                    <a:pt x="553" y="273"/>
                  </a:lnTo>
                  <a:lnTo>
                    <a:pt x="554" y="283"/>
                  </a:lnTo>
                  <a:lnTo>
                    <a:pt x="554" y="295"/>
                  </a:lnTo>
                  <a:lnTo>
                    <a:pt x="578" y="319"/>
                  </a:lnTo>
                  <a:lnTo>
                    <a:pt x="0" y="312"/>
                  </a:lnTo>
                </a:path>
              </a:pathLst>
            </a:custGeom>
            <a:grpFill/>
            <a:ln w="3175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Freeform 41"/>
            <p:cNvSpPr>
              <a:spLocks/>
            </p:cNvSpPr>
            <p:nvPr/>
          </p:nvSpPr>
          <p:spPr bwMode="gray">
            <a:xfrm>
              <a:off x="2330" y="866"/>
              <a:ext cx="588" cy="118"/>
            </a:xfrm>
            <a:custGeom>
              <a:avLst/>
              <a:gdLst>
                <a:gd name="T0" fmla="*/ 58 w 588"/>
                <a:gd name="T1" fmla="*/ 0 h 118"/>
                <a:gd name="T2" fmla="*/ 0 w 588"/>
                <a:gd name="T3" fmla="*/ 60 h 118"/>
                <a:gd name="T4" fmla="*/ 13 w 588"/>
                <a:gd name="T5" fmla="*/ 83 h 118"/>
                <a:gd name="T6" fmla="*/ 462 w 588"/>
                <a:gd name="T7" fmla="*/ 118 h 118"/>
                <a:gd name="T8" fmla="*/ 585 w 588"/>
                <a:gd name="T9" fmla="*/ 102 h 118"/>
                <a:gd name="T10" fmla="*/ 588 w 588"/>
                <a:gd name="T11" fmla="*/ 57 h 118"/>
                <a:gd name="T12" fmla="*/ 567 w 588"/>
                <a:gd name="T13" fmla="*/ 30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8"/>
                <a:gd name="T22" fmla="*/ 0 h 118"/>
                <a:gd name="T23" fmla="*/ 588 w 588"/>
                <a:gd name="T24" fmla="*/ 118 h 1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8" h="118">
                  <a:moveTo>
                    <a:pt x="58" y="0"/>
                  </a:moveTo>
                  <a:lnTo>
                    <a:pt x="0" y="60"/>
                  </a:lnTo>
                  <a:lnTo>
                    <a:pt x="13" y="83"/>
                  </a:lnTo>
                  <a:lnTo>
                    <a:pt x="462" y="118"/>
                  </a:lnTo>
                  <a:lnTo>
                    <a:pt x="585" y="102"/>
                  </a:lnTo>
                  <a:lnTo>
                    <a:pt x="588" y="57"/>
                  </a:lnTo>
                  <a:lnTo>
                    <a:pt x="567" y="30"/>
                  </a:lnTo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 defTabSz="828077">
                <a:defRPr/>
              </a:pPr>
              <a:endParaRPr lang="en-US" kern="0" dirty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39" name="Line 161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3479042" y="4579680"/>
            <a:ext cx="108000" cy="0"/>
          </a:xfrm>
          <a:prstGeom prst="line">
            <a:avLst/>
          </a:prstGeom>
          <a:noFill/>
          <a:ln w="19050">
            <a:solidFill>
              <a:srgbClr val="4F81B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40" name="Line 167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H="1">
            <a:off x="3212640" y="4584002"/>
            <a:ext cx="262081" cy="188926"/>
          </a:xfrm>
          <a:prstGeom prst="line">
            <a:avLst/>
          </a:prstGeom>
          <a:noFill/>
          <a:ln w="19050">
            <a:solidFill>
              <a:srgbClr val="00206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41" name="Line 168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3211200" y="4817307"/>
            <a:ext cx="99360" cy="69127"/>
          </a:xfrm>
          <a:prstGeom prst="line">
            <a:avLst/>
          </a:prstGeom>
          <a:noFill/>
          <a:ln w="19050">
            <a:solidFill>
              <a:sysClr val="windowText" lastClr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42" name="AutoShape 191"/>
          <p:cNvCxnSpPr>
            <a:cxnSpLocks noChangeShapeType="1"/>
            <a:stCxn id="82" idx="2"/>
            <a:endCxn id="83" idx="5"/>
          </p:cNvCxnSpPr>
          <p:nvPr>
            <p:custDataLst>
              <p:tags r:id="rId16"/>
            </p:custDataLst>
          </p:nvPr>
        </p:nvCxnSpPr>
        <p:spPr bwMode="gray">
          <a:xfrm flipH="1" flipV="1">
            <a:off x="1883520" y="4005062"/>
            <a:ext cx="30240" cy="41764"/>
          </a:xfrm>
          <a:prstGeom prst="straightConnector1">
            <a:avLst/>
          </a:prstGeom>
          <a:noFill/>
          <a:ln w="19050">
            <a:solidFill>
              <a:srgbClr val="800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43" name="Line 211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6713584" y="1594233"/>
            <a:ext cx="254880" cy="0"/>
          </a:xfrm>
          <a:prstGeom prst="line">
            <a:avLst/>
          </a:prstGeom>
          <a:noFill/>
          <a:ln w="25400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44" name="Rectangle 2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998400" y="1522241"/>
            <a:ext cx="1740667" cy="13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900" kern="0" dirty="0">
                <a:solidFill>
                  <a:sysClr val="windowText" lastClr="000000"/>
                </a:solidFill>
              </a:rPr>
              <a:t>KDN fiber-underground (Primary)</a:t>
            </a:r>
          </a:p>
        </p:txBody>
      </p:sp>
      <p:sp>
        <p:nvSpPr>
          <p:cNvPr id="45" name="Oval 8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5330880" y="2449697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6" name="Oval 87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104000" y="2674361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7" name="Oval 8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801600" y="3210097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8" name="Oval 9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557600" y="331810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9" name="Oval 90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646080" y="385816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0" name="Oval 9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689280" y="399209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Oval 93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646080" y="4208121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2" name="Oval 9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555360" y="4247006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3" name="Oval 9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456000" y="416923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4" name="Oval 11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3343680" y="388840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5" name="Oval 100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460320" y="436797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6" name="Oval 10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460320" y="455807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7" name="Oval 102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559680" y="455807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8" name="Oval 104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3607200" y="4687692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9" name="Oval 105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3551040" y="4795703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0" name="Oval 107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961440" y="4484630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1" name="Oval 108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345920" y="4355017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2" name="Oval 109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583520" y="538760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3" name="Oval 11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015360" y="390568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4" name="Oval 11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2851200" y="408714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5" name="Oval 11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192480" y="4795703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6" name="Oval 116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291840" y="4869151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Oval 11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192480" y="5059251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8" name="Oval 121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2846880" y="489507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9" name="Oval 122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2531520" y="476113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0" name="Oval 123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2531520" y="461856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1" name="Oval 124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388960" y="476113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2" name="Oval 125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229120" y="476113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3" name="Oval 126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129760" y="480434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4" name="Oval 127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2103840" y="489939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5" name="Oval 128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2151360" y="499012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6" name="Oval 129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2220480" y="455807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7" name="Oval 131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259360" y="427724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8" name="Oval 132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2181600" y="409578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9" name="Oval 133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2263680" y="3905689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0" name="Oval 137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2540160" y="384952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1" name="Oval 183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2043360" y="4056906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2" name="Oval 184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1913760" y="4026662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3" name="Oval 185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1848960" y="3970497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4" name="Oval 134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2155680" y="3836562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5" name="Oval 135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2043360" y="3836562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6" name="Oval 142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2255040" y="3378594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7" name="Oval 143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2328480" y="329218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8" name="Oval 144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2423520" y="2687322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9" name="Oval 145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1805760" y="2324403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0" name="Rectangle 222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1882080" y="2281199"/>
            <a:ext cx="3974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Lokichoggio</a:t>
            </a:r>
            <a:r>
              <a:rPr lang="en-GB" sz="500" kern="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91" name="Rectangle 223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2491202" y="2664279"/>
            <a:ext cx="23472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Lodwar</a:t>
            </a:r>
            <a:r>
              <a:rPr lang="en-GB" sz="500" kern="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92" name="Rectangle 224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2350082" y="3341150"/>
            <a:ext cx="23472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Kitale</a:t>
            </a:r>
            <a:r>
              <a:rPr lang="en-GB" sz="500" kern="0" dirty="0">
                <a:solidFill>
                  <a:sysClr val="windowText" lastClr="000000"/>
                </a:solidFill>
              </a:rPr>
              <a:t>  </a:t>
            </a:r>
          </a:p>
        </p:txBody>
      </p:sp>
      <p:sp>
        <p:nvSpPr>
          <p:cNvPr id="93" name="Rectangle 225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2132640" y="3767435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Weybuye</a:t>
            </a:r>
            <a:r>
              <a:rPr lang="en-GB" sz="500" kern="0" dirty="0">
                <a:solidFill>
                  <a:sysClr val="windowText" lastClr="000000"/>
                </a:solidFill>
              </a:rPr>
              <a:t>   </a:t>
            </a:r>
          </a:p>
        </p:txBody>
      </p:sp>
      <p:sp>
        <p:nvSpPr>
          <p:cNvPr id="94" name="Rectangle 226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2011680" y="3753033"/>
            <a:ext cx="1598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__   </a:t>
            </a:r>
          </a:p>
        </p:txBody>
      </p:sp>
      <p:sp>
        <p:nvSpPr>
          <p:cNvPr id="95" name="Rectangle 227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2347202" y="3953215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Kakamega</a:t>
            </a:r>
            <a:r>
              <a:rPr lang="en-GB" sz="500" kern="0" dirty="0">
                <a:solidFill>
                  <a:sysClr val="windowText" lastClr="000000"/>
                </a:solidFill>
              </a:rPr>
              <a:t>    </a:t>
            </a:r>
          </a:p>
        </p:txBody>
      </p:sp>
      <p:sp>
        <p:nvSpPr>
          <p:cNvPr id="96" name="Rectangle 228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2587680" y="3793358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Eldoret</a:t>
            </a:r>
            <a:r>
              <a:rPr lang="en-GB" sz="500" kern="0" dirty="0">
                <a:solidFill>
                  <a:sysClr val="windowText" lastClr="000000"/>
                </a:solidFill>
              </a:rPr>
              <a:t>     </a:t>
            </a:r>
          </a:p>
        </p:txBody>
      </p:sp>
      <p:sp>
        <p:nvSpPr>
          <p:cNvPr id="97" name="Rectangle 229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2319840" y="4325601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Kisumu     </a:t>
            </a:r>
          </a:p>
        </p:txBody>
      </p:sp>
      <p:sp>
        <p:nvSpPr>
          <p:cNvPr id="98" name="Rectangle 230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2272320" y="4650248"/>
            <a:ext cx="1382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Kisii      </a:t>
            </a:r>
          </a:p>
        </p:txBody>
      </p:sp>
      <p:sp>
        <p:nvSpPr>
          <p:cNvPr id="99" name="Rectangle 231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2587680" y="4594082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Kericho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</a:t>
            </a:r>
          </a:p>
        </p:txBody>
      </p:sp>
      <p:sp>
        <p:nvSpPr>
          <p:cNvPr id="100" name="Rectangle 232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2587680" y="4715054"/>
            <a:ext cx="2865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Bomet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</a:t>
            </a:r>
          </a:p>
        </p:txBody>
      </p:sp>
      <p:sp>
        <p:nvSpPr>
          <p:cNvPr id="101" name="Rectangle 233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2838241" y="4954119"/>
            <a:ext cx="18000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Narok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</a:t>
            </a:r>
          </a:p>
        </p:txBody>
      </p:sp>
      <p:sp>
        <p:nvSpPr>
          <p:cNvPr id="102" name="Rectangle 234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1941120" y="4779860"/>
            <a:ext cx="1684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Rongo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</a:t>
            </a:r>
          </a:p>
        </p:txBody>
      </p:sp>
      <p:sp>
        <p:nvSpPr>
          <p:cNvPr id="103" name="Rectangle 235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2213280" y="4967082"/>
            <a:ext cx="2750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Isebani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</a:t>
            </a:r>
          </a:p>
        </p:txBody>
      </p:sp>
      <p:sp>
        <p:nvSpPr>
          <p:cNvPr id="104" name="Rectangle 236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3267360" y="4764020"/>
            <a:ext cx="241920" cy="76944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  <a:cs typeface="Arial" charset="0"/>
              </a:rPr>
              <a:t>Nairobi         </a:t>
            </a:r>
          </a:p>
        </p:txBody>
      </p:sp>
      <p:sp>
        <p:nvSpPr>
          <p:cNvPr id="105" name="Rectangle 237"/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3280320" y="4977162"/>
            <a:ext cx="4492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Kaljiado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</a:t>
            </a:r>
          </a:p>
        </p:txBody>
      </p:sp>
      <p:sp>
        <p:nvSpPr>
          <p:cNvPr id="106" name="Rectangle 238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3263042" y="5561864"/>
            <a:ext cx="2750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Namang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</a:t>
            </a:r>
          </a:p>
        </p:txBody>
      </p:sp>
      <p:sp>
        <p:nvSpPr>
          <p:cNvPr id="107" name="Oval 118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3192480" y="557338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08" name="Rectangle 239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3664800" y="4667530"/>
            <a:ext cx="11952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Tal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</a:t>
            </a:r>
          </a:p>
        </p:txBody>
      </p:sp>
      <p:sp>
        <p:nvSpPr>
          <p:cNvPr id="109" name="Rectangle 240"/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4020480" y="4667530"/>
            <a:ext cx="2620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Kitui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</a:t>
            </a:r>
          </a:p>
        </p:txBody>
      </p:sp>
      <p:sp>
        <p:nvSpPr>
          <p:cNvPr id="110" name="Rectangle 242"/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4026240" y="4483188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Mwingi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</a:t>
            </a:r>
          </a:p>
        </p:txBody>
      </p:sp>
      <p:sp>
        <p:nvSpPr>
          <p:cNvPr id="111" name="Rectangle 243"/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4406400" y="4336295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Gariss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</a:t>
            </a:r>
          </a:p>
        </p:txBody>
      </p:sp>
      <p:sp>
        <p:nvSpPr>
          <p:cNvPr id="112" name="Rectangle 244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4618080" y="5292555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Garsen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</a:t>
            </a:r>
          </a:p>
        </p:txBody>
      </p:sp>
      <p:sp>
        <p:nvSpPr>
          <p:cNvPr id="113" name="Rectangle 245"/>
          <p:cNvSpPr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3507840" y="4483191"/>
            <a:ext cx="1857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Thik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</a:t>
            </a:r>
          </a:p>
        </p:txBody>
      </p:sp>
      <p:sp>
        <p:nvSpPr>
          <p:cNvPr id="114" name="Rectangle 246"/>
          <p:cNvSpPr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3510722" y="4339174"/>
            <a:ext cx="26352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Murang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</a:t>
            </a:r>
          </a:p>
        </p:txBody>
      </p:sp>
      <p:sp>
        <p:nvSpPr>
          <p:cNvPr id="115" name="Rectangle 247"/>
          <p:cNvSpPr>
            <a:spLocks noChangeArrowheads="1"/>
          </p:cNvSpPr>
          <p:nvPr>
            <p:custDataLst>
              <p:tags r:id="rId89"/>
            </p:custDataLst>
          </p:nvPr>
        </p:nvSpPr>
        <p:spPr bwMode="auto">
          <a:xfrm>
            <a:off x="3392640" y="4085708"/>
            <a:ext cx="15120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Nyeri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</a:t>
            </a:r>
          </a:p>
        </p:txBody>
      </p:sp>
      <p:sp>
        <p:nvSpPr>
          <p:cNvPr id="116" name="Rectangle 248"/>
          <p:cNvSpPr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3700800" y="4192280"/>
            <a:ext cx="15120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Embu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</a:t>
            </a:r>
          </a:p>
        </p:txBody>
      </p:sp>
      <p:sp>
        <p:nvSpPr>
          <p:cNvPr id="117" name="Rectangle 249"/>
          <p:cNvSpPr>
            <a:spLocks noChangeArrowheads="1"/>
          </p:cNvSpPr>
          <p:nvPr>
            <p:custDataLst>
              <p:tags r:id="rId91"/>
            </p:custDataLst>
          </p:nvPr>
        </p:nvSpPr>
        <p:spPr bwMode="auto">
          <a:xfrm>
            <a:off x="3748321" y="3977697"/>
            <a:ext cx="15120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Meru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</a:t>
            </a:r>
          </a:p>
        </p:txBody>
      </p:sp>
      <p:sp>
        <p:nvSpPr>
          <p:cNvPr id="118" name="Rectangle 250"/>
          <p:cNvSpPr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3317760" y="3822160"/>
            <a:ext cx="2332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Nanyuki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</a:t>
            </a:r>
          </a:p>
        </p:txBody>
      </p:sp>
      <p:sp>
        <p:nvSpPr>
          <p:cNvPr id="119" name="Rectangle 251"/>
          <p:cNvSpPr>
            <a:spLocks noChangeArrowheads="1"/>
          </p:cNvSpPr>
          <p:nvPr>
            <p:custDataLst>
              <p:tags r:id="rId93"/>
            </p:custDataLst>
          </p:nvPr>
        </p:nvSpPr>
        <p:spPr bwMode="auto">
          <a:xfrm>
            <a:off x="2904481" y="3822161"/>
            <a:ext cx="427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Nyahururu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 </a:t>
            </a:r>
          </a:p>
        </p:txBody>
      </p:sp>
      <p:sp>
        <p:nvSpPr>
          <p:cNvPr id="120" name="Rectangle 252"/>
          <p:cNvSpPr>
            <a:spLocks noChangeArrowheads="1"/>
          </p:cNvSpPr>
          <p:nvPr>
            <p:custDataLst>
              <p:tags r:id="rId94"/>
            </p:custDataLst>
          </p:nvPr>
        </p:nvSpPr>
        <p:spPr bwMode="auto">
          <a:xfrm>
            <a:off x="2904480" y="4077068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Nakuru                    </a:t>
            </a:r>
          </a:p>
        </p:txBody>
      </p:sp>
      <p:sp>
        <p:nvSpPr>
          <p:cNvPr id="121" name="Rectangle 253"/>
          <p:cNvSpPr>
            <a:spLocks noChangeArrowheads="1"/>
          </p:cNvSpPr>
          <p:nvPr>
            <p:custDataLst>
              <p:tags r:id="rId95"/>
            </p:custDataLst>
          </p:nvPr>
        </p:nvSpPr>
        <p:spPr bwMode="auto">
          <a:xfrm>
            <a:off x="3702241" y="3859604"/>
            <a:ext cx="15120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Isielo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</a:t>
            </a:r>
          </a:p>
        </p:txBody>
      </p:sp>
      <p:sp>
        <p:nvSpPr>
          <p:cNvPr id="122" name="Rectangle 254"/>
          <p:cNvSpPr>
            <a:spLocks noChangeArrowheads="1"/>
          </p:cNvSpPr>
          <p:nvPr>
            <p:custDataLst>
              <p:tags r:id="rId96"/>
            </p:custDataLst>
          </p:nvPr>
        </p:nvSpPr>
        <p:spPr bwMode="auto">
          <a:xfrm>
            <a:off x="4610880" y="3306587"/>
            <a:ext cx="2332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Wajiir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 </a:t>
            </a:r>
          </a:p>
        </p:txBody>
      </p:sp>
      <p:sp>
        <p:nvSpPr>
          <p:cNvPr id="123" name="Rectangle 255"/>
          <p:cNvSpPr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3852005" y="3201456"/>
            <a:ext cx="2332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Marsabit                    </a:t>
            </a:r>
          </a:p>
        </p:txBody>
      </p:sp>
      <p:sp>
        <p:nvSpPr>
          <p:cNvPr id="124" name="Rectangle 256"/>
          <p:cNvSpPr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4132800" y="2706044"/>
            <a:ext cx="2332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Moyale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   </a:t>
            </a:r>
          </a:p>
        </p:txBody>
      </p:sp>
      <p:sp>
        <p:nvSpPr>
          <p:cNvPr id="125" name="Rectangle 257"/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5256000" y="2360408"/>
            <a:ext cx="23328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 err="1">
                <a:solidFill>
                  <a:sysClr val="windowText" lastClr="000000"/>
                </a:solidFill>
              </a:rPr>
              <a:t>Mandera</a:t>
            </a:r>
            <a:r>
              <a:rPr lang="en-GB" sz="500" kern="0" dirty="0">
                <a:solidFill>
                  <a:sysClr val="windowText" lastClr="000000"/>
                </a:solidFill>
              </a:rPr>
              <a:t>                      </a:t>
            </a:r>
          </a:p>
        </p:txBody>
      </p:sp>
      <p:sp>
        <p:nvSpPr>
          <p:cNvPr id="126" name="Rectangle 262"/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 rot="16783022">
            <a:off x="2232724" y="2944801"/>
            <a:ext cx="234745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577  </a:t>
            </a:r>
          </a:p>
        </p:txBody>
      </p:sp>
      <p:sp>
        <p:nvSpPr>
          <p:cNvPr id="127" name="Rectangle 263"/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 rot="706098">
            <a:off x="1935360" y="4078921"/>
            <a:ext cx="103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129  </a:t>
            </a:r>
          </a:p>
        </p:txBody>
      </p:sp>
      <p:sp>
        <p:nvSpPr>
          <p:cNvPr id="128" name="Rectangle 266"/>
          <p:cNvSpPr>
            <a:spLocks noChangeArrowheads="1"/>
          </p:cNvSpPr>
          <p:nvPr>
            <p:custDataLst>
              <p:tags r:id="rId102"/>
            </p:custDataLst>
          </p:nvPr>
        </p:nvSpPr>
        <p:spPr bwMode="auto">
          <a:xfrm rot="16200000">
            <a:off x="3104635" y="5256965"/>
            <a:ext cx="103691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159</a:t>
            </a:r>
          </a:p>
        </p:txBody>
      </p:sp>
      <p:sp>
        <p:nvSpPr>
          <p:cNvPr id="129" name="Rectangle 267"/>
          <p:cNvSpPr>
            <a:spLocks noChangeArrowheads="1"/>
          </p:cNvSpPr>
          <p:nvPr>
            <p:custDataLst>
              <p:tags r:id="rId103"/>
            </p:custDataLst>
          </p:nvPr>
        </p:nvSpPr>
        <p:spPr bwMode="auto">
          <a:xfrm rot="21036564">
            <a:off x="3751200" y="4775954"/>
            <a:ext cx="103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159</a:t>
            </a:r>
          </a:p>
        </p:txBody>
      </p:sp>
      <p:sp>
        <p:nvSpPr>
          <p:cNvPr id="130" name="Rectangle 268"/>
          <p:cNvSpPr>
            <a:spLocks noChangeArrowheads="1"/>
          </p:cNvSpPr>
          <p:nvPr>
            <p:custDataLst>
              <p:tags r:id="rId104"/>
            </p:custDataLst>
          </p:nvPr>
        </p:nvSpPr>
        <p:spPr bwMode="auto">
          <a:xfrm rot="21036564">
            <a:off x="4105440" y="4355431"/>
            <a:ext cx="103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321</a:t>
            </a:r>
          </a:p>
        </p:txBody>
      </p:sp>
      <p:sp>
        <p:nvSpPr>
          <p:cNvPr id="131" name="Rectangle 269"/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 rot="452215">
            <a:off x="3709440" y="4100523"/>
            <a:ext cx="103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318</a:t>
            </a:r>
          </a:p>
        </p:txBody>
      </p:sp>
      <p:sp>
        <p:nvSpPr>
          <p:cNvPr id="132" name="Rectangle 270"/>
          <p:cNvSpPr>
            <a:spLocks noChangeArrowheads="1"/>
          </p:cNvSpPr>
          <p:nvPr>
            <p:custDataLst>
              <p:tags r:id="rId106"/>
            </p:custDataLst>
          </p:nvPr>
        </p:nvSpPr>
        <p:spPr bwMode="auto">
          <a:xfrm rot="18095366">
            <a:off x="3936955" y="2985848"/>
            <a:ext cx="103691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912</a:t>
            </a:r>
          </a:p>
        </p:txBody>
      </p:sp>
      <p:sp>
        <p:nvSpPr>
          <p:cNvPr id="133" name="Rectangle 272"/>
          <p:cNvSpPr>
            <a:spLocks noChangeArrowheads="1"/>
          </p:cNvSpPr>
          <p:nvPr>
            <p:custDataLst>
              <p:tags r:id="rId107"/>
            </p:custDataLst>
          </p:nvPr>
        </p:nvSpPr>
        <p:spPr bwMode="auto">
          <a:xfrm rot="706098">
            <a:off x="2240640" y="3834095"/>
            <a:ext cx="10368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70  </a:t>
            </a:r>
          </a:p>
        </p:txBody>
      </p:sp>
      <p:sp>
        <p:nvSpPr>
          <p:cNvPr id="134" name="Rectangle 279"/>
          <p:cNvSpPr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4366080" y="6191210"/>
            <a:ext cx="28944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Mombasa                </a:t>
            </a:r>
          </a:p>
        </p:txBody>
      </p:sp>
      <p:sp>
        <p:nvSpPr>
          <p:cNvPr id="135" name="Rectangle 280"/>
          <p:cNvSpPr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4655520" y="5692915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Malindi                 </a:t>
            </a:r>
          </a:p>
        </p:txBody>
      </p:sp>
      <p:sp>
        <p:nvSpPr>
          <p:cNvPr id="136" name="Rectangle 281"/>
          <p:cNvSpPr>
            <a:spLocks noChangeArrowheads="1"/>
          </p:cNvSpPr>
          <p:nvPr>
            <p:custDataLst>
              <p:tags r:id="rId110"/>
            </p:custDataLst>
          </p:nvPr>
        </p:nvSpPr>
        <p:spPr bwMode="auto">
          <a:xfrm>
            <a:off x="4502880" y="5988148"/>
            <a:ext cx="207360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500" kern="0" dirty="0">
                <a:solidFill>
                  <a:sysClr val="windowText" lastClr="000000"/>
                </a:solidFill>
              </a:rPr>
              <a:t>Kilifi                  </a:t>
            </a:r>
          </a:p>
        </p:txBody>
      </p:sp>
      <p:sp>
        <p:nvSpPr>
          <p:cNvPr id="137" name="Oval 111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4911840" y="5318478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38" name="Oval 273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4573440" y="567131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39" name="Oval 274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4417920" y="5965106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40" name="Oval 200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4315680" y="6152325"/>
            <a:ext cx="40320" cy="40324"/>
          </a:xfrm>
          <a:prstGeom prst="ellipse">
            <a:avLst/>
          </a:prstGeom>
          <a:solidFill>
            <a:srgbClr val="000000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41" name="Line 211"/>
          <p:cNvSpPr>
            <a:spLocks noChangeShapeType="1"/>
          </p:cNvSpPr>
          <p:nvPr>
            <p:custDataLst>
              <p:tags r:id="rId115"/>
            </p:custDataLst>
          </p:nvPr>
        </p:nvSpPr>
        <p:spPr bwMode="gray">
          <a:xfrm>
            <a:off x="6720481" y="2026281"/>
            <a:ext cx="254880" cy="0"/>
          </a:xfrm>
          <a:prstGeom prst="line">
            <a:avLst/>
          </a:prstGeom>
          <a:noFill/>
          <a:ln w="25400">
            <a:solidFill>
              <a:srgbClr val="7030A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42" name="Rectangle 216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6975360" y="1959806"/>
            <a:ext cx="1763707" cy="13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900" kern="0" dirty="0">
                <a:solidFill>
                  <a:sysClr val="windowText" lastClr="000000"/>
                </a:solidFill>
              </a:rPr>
              <a:t>Jamii fiber -overhead(Backup)</a:t>
            </a:r>
          </a:p>
        </p:txBody>
      </p:sp>
      <p:sp>
        <p:nvSpPr>
          <p:cNvPr id="143" name="Oval 142"/>
          <p:cNvSpPr/>
          <p:nvPr/>
        </p:nvSpPr>
        <p:spPr>
          <a:xfrm>
            <a:off x="3640264" y="3951776"/>
            <a:ext cx="87840" cy="9073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2792000" y="4042505"/>
            <a:ext cx="8784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5" name="Oval 144"/>
          <p:cNvSpPr/>
          <p:nvPr/>
        </p:nvSpPr>
        <p:spPr>
          <a:xfrm>
            <a:off x="2215936" y="4310375"/>
            <a:ext cx="8784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2503968" y="3826486"/>
            <a:ext cx="86400" cy="9073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3152040" y="4743863"/>
            <a:ext cx="87840" cy="9073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3333601" y="4579680"/>
            <a:ext cx="8784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4176000" y="6129283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50" name="Rectangle 32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3800829" y="5914717"/>
            <a:ext cx="448841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Mombasa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51" name="Rectangle 32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3584089" y="3698642"/>
            <a:ext cx="254878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Meru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52" name="Rectangle 32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3440072" y="4634746"/>
            <a:ext cx="232436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USIU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53" name="Rectangle 32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1783891" y="4258533"/>
            <a:ext cx="338234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Kisumu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54" name="Rectangle 32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2869787" y="3826485"/>
            <a:ext cx="314189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Nakuru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 POP</a:t>
            </a:r>
          </a:p>
        </p:txBody>
      </p:sp>
      <p:sp>
        <p:nvSpPr>
          <p:cNvPr id="155" name="Freeform 154"/>
          <p:cNvSpPr/>
          <p:nvPr/>
        </p:nvSpPr>
        <p:spPr>
          <a:xfrm>
            <a:off x="3249395" y="4815657"/>
            <a:ext cx="957129" cy="1350235"/>
          </a:xfrm>
          <a:custGeom>
            <a:avLst/>
            <a:gdLst>
              <a:gd name="connsiteX0" fmla="*/ 0 w 957129"/>
              <a:gd name="connsiteY0" fmla="*/ 0 h 1350235"/>
              <a:gd name="connsiteX1" fmla="*/ 376015 w 957129"/>
              <a:gd name="connsiteY1" fmla="*/ 307648 h 1350235"/>
              <a:gd name="connsiteX2" fmla="*/ 752030 w 957129"/>
              <a:gd name="connsiteY2" fmla="*/ 897308 h 1350235"/>
              <a:gd name="connsiteX3" fmla="*/ 957129 w 957129"/>
              <a:gd name="connsiteY3" fmla="*/ 1350235 h 1350235"/>
              <a:gd name="connsiteX4" fmla="*/ 957129 w 957129"/>
              <a:gd name="connsiteY4" fmla="*/ 1350235 h 1350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129" h="1350235">
                <a:moveTo>
                  <a:pt x="0" y="0"/>
                </a:moveTo>
                <a:cubicBezTo>
                  <a:pt x="125338" y="79048"/>
                  <a:pt x="250677" y="158097"/>
                  <a:pt x="376015" y="307648"/>
                </a:cubicBezTo>
                <a:cubicBezTo>
                  <a:pt x="501353" y="457199"/>
                  <a:pt x="655178" y="723543"/>
                  <a:pt x="752030" y="897308"/>
                </a:cubicBezTo>
                <a:cubicBezTo>
                  <a:pt x="848882" y="1071073"/>
                  <a:pt x="957129" y="1350235"/>
                  <a:pt x="957129" y="1350235"/>
                </a:cubicBezTo>
                <a:lnTo>
                  <a:pt x="957129" y="1350235"/>
                </a:ln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56" name="Rectangle 32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2985200" y="4859316"/>
            <a:ext cx="211596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 err="1">
                <a:solidFill>
                  <a:sysClr val="windowText" lastClr="000000"/>
                </a:solidFill>
                <a:cs typeface="Arial" charset="0"/>
              </a:rPr>
              <a:t>UoN</a:t>
            </a:r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57" name="Freeform 156"/>
          <p:cNvSpPr/>
          <p:nvPr/>
        </p:nvSpPr>
        <p:spPr>
          <a:xfrm>
            <a:off x="3206664" y="4824203"/>
            <a:ext cx="1026936" cy="1397251"/>
          </a:xfrm>
          <a:custGeom>
            <a:avLst/>
            <a:gdLst>
              <a:gd name="connsiteX0" fmla="*/ 0 w 957129"/>
              <a:gd name="connsiteY0" fmla="*/ 0 h 1350236"/>
              <a:gd name="connsiteX1" fmla="*/ 59820 w 957129"/>
              <a:gd name="connsiteY1" fmla="*/ 264920 h 1350236"/>
              <a:gd name="connsiteX2" fmla="*/ 230736 w 957129"/>
              <a:gd name="connsiteY2" fmla="*/ 640935 h 1350236"/>
              <a:gd name="connsiteX3" fmla="*/ 512747 w 957129"/>
              <a:gd name="connsiteY3" fmla="*/ 1008404 h 1350236"/>
              <a:gd name="connsiteX4" fmla="*/ 957129 w 957129"/>
              <a:gd name="connsiteY4" fmla="*/ 1350236 h 1350236"/>
              <a:gd name="connsiteX5" fmla="*/ 957129 w 957129"/>
              <a:gd name="connsiteY5" fmla="*/ 1350236 h 1350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7129" h="1350236">
                <a:moveTo>
                  <a:pt x="0" y="0"/>
                </a:moveTo>
                <a:cubicBezTo>
                  <a:pt x="10682" y="79049"/>
                  <a:pt x="21364" y="158098"/>
                  <a:pt x="59820" y="264920"/>
                </a:cubicBezTo>
                <a:cubicBezTo>
                  <a:pt x="98276" y="371742"/>
                  <a:pt x="155248" y="517021"/>
                  <a:pt x="230736" y="640935"/>
                </a:cubicBezTo>
                <a:cubicBezTo>
                  <a:pt x="306224" y="764849"/>
                  <a:pt x="391682" y="890187"/>
                  <a:pt x="512747" y="1008404"/>
                </a:cubicBezTo>
                <a:cubicBezTo>
                  <a:pt x="633813" y="1126621"/>
                  <a:pt x="957129" y="1350236"/>
                  <a:pt x="957129" y="1350236"/>
                </a:cubicBezTo>
                <a:lnTo>
                  <a:pt x="957129" y="1350236"/>
                </a:lnTo>
              </a:path>
            </a:pathLst>
          </a:custGeom>
          <a:noFill/>
          <a:ln w="25400">
            <a:solidFill>
              <a:srgbClr val="7030A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58" name="Freeform 157"/>
          <p:cNvSpPr/>
          <p:nvPr/>
        </p:nvSpPr>
        <p:spPr>
          <a:xfrm>
            <a:off x="3223771" y="4619103"/>
            <a:ext cx="128187" cy="98277"/>
          </a:xfrm>
          <a:custGeom>
            <a:avLst/>
            <a:gdLst>
              <a:gd name="connsiteX0" fmla="*/ 154788 w 154788"/>
              <a:gd name="connsiteY0" fmla="*/ 0 h 155147"/>
              <a:gd name="connsiteX1" fmla="*/ 43693 w 154788"/>
              <a:gd name="connsiteY1" fmla="*/ 42729 h 155147"/>
              <a:gd name="connsiteX2" fmla="*/ 964 w 154788"/>
              <a:gd name="connsiteY2" fmla="*/ 145279 h 155147"/>
              <a:gd name="connsiteX3" fmla="*/ 18055 w 154788"/>
              <a:gd name="connsiteY3" fmla="*/ 145279 h 155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788" h="155147">
                <a:moveTo>
                  <a:pt x="154788" y="0"/>
                </a:moveTo>
                <a:cubicBezTo>
                  <a:pt x="112059" y="9258"/>
                  <a:pt x="69330" y="18516"/>
                  <a:pt x="43693" y="42729"/>
                </a:cubicBezTo>
                <a:cubicBezTo>
                  <a:pt x="18056" y="66942"/>
                  <a:pt x="5237" y="128187"/>
                  <a:pt x="964" y="145279"/>
                </a:cubicBezTo>
                <a:cubicBezTo>
                  <a:pt x="-3309" y="162371"/>
                  <a:pt x="7373" y="153825"/>
                  <a:pt x="18055" y="145279"/>
                </a:cubicBezTo>
              </a:path>
            </a:pathLst>
          </a:custGeom>
          <a:noFill/>
          <a:ln w="25400">
            <a:solidFill>
              <a:srgbClr val="C0000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Freeform 158"/>
          <p:cNvSpPr/>
          <p:nvPr/>
        </p:nvSpPr>
        <p:spPr>
          <a:xfrm>
            <a:off x="3223756" y="4644741"/>
            <a:ext cx="171718" cy="145278"/>
          </a:xfrm>
          <a:custGeom>
            <a:avLst/>
            <a:gdLst>
              <a:gd name="connsiteX0" fmla="*/ 162370 w 171718"/>
              <a:gd name="connsiteY0" fmla="*/ 0 h 145278"/>
              <a:gd name="connsiteX1" fmla="*/ 153825 w 171718"/>
              <a:gd name="connsiteY1" fmla="*/ 119641 h 145278"/>
              <a:gd name="connsiteX2" fmla="*/ 0 w 171718"/>
              <a:gd name="connsiteY2" fmla="*/ 145278 h 145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718" h="145278">
                <a:moveTo>
                  <a:pt x="162370" y="0"/>
                </a:moveTo>
                <a:cubicBezTo>
                  <a:pt x="171628" y="47714"/>
                  <a:pt x="180887" y="95428"/>
                  <a:pt x="153825" y="119641"/>
                </a:cubicBezTo>
                <a:cubicBezTo>
                  <a:pt x="126763" y="143854"/>
                  <a:pt x="63381" y="144566"/>
                  <a:pt x="0" y="145278"/>
                </a:cubicBez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Freeform 159"/>
          <p:cNvSpPr/>
          <p:nvPr/>
        </p:nvSpPr>
        <p:spPr>
          <a:xfrm>
            <a:off x="3365219" y="4012352"/>
            <a:ext cx="277286" cy="572568"/>
          </a:xfrm>
          <a:custGeom>
            <a:avLst/>
            <a:gdLst>
              <a:gd name="connsiteX0" fmla="*/ 277286 w 277286"/>
              <a:gd name="connsiteY0" fmla="*/ 0 h 572568"/>
              <a:gd name="connsiteX1" fmla="*/ 106370 w 277286"/>
              <a:gd name="connsiteY1" fmla="*/ 145279 h 572568"/>
              <a:gd name="connsiteX2" fmla="*/ 12367 w 277286"/>
              <a:gd name="connsiteY2" fmla="*/ 358923 h 572568"/>
              <a:gd name="connsiteX3" fmla="*/ 3821 w 277286"/>
              <a:gd name="connsiteY3" fmla="*/ 572568 h 572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286" h="572568">
                <a:moveTo>
                  <a:pt x="277286" y="0"/>
                </a:moveTo>
                <a:cubicBezTo>
                  <a:pt x="213904" y="42729"/>
                  <a:pt x="150523" y="85459"/>
                  <a:pt x="106370" y="145279"/>
                </a:cubicBezTo>
                <a:cubicBezTo>
                  <a:pt x="62217" y="205100"/>
                  <a:pt x="29458" y="287708"/>
                  <a:pt x="12367" y="358923"/>
                </a:cubicBezTo>
                <a:cubicBezTo>
                  <a:pt x="-4725" y="430138"/>
                  <a:pt x="-452" y="501353"/>
                  <a:pt x="3821" y="572568"/>
                </a:cubicBezTo>
              </a:path>
            </a:pathLst>
          </a:custGeom>
          <a:noFill/>
          <a:ln w="19050">
            <a:solidFill>
              <a:srgbClr val="800080"/>
            </a:solidFill>
            <a:round/>
            <a:headEnd/>
            <a:tailEnd/>
          </a:ln>
        </p:spPr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61" name="Freeform 160"/>
          <p:cNvSpPr/>
          <p:nvPr/>
        </p:nvSpPr>
        <p:spPr>
          <a:xfrm>
            <a:off x="3420326" y="4046551"/>
            <a:ext cx="308969" cy="564023"/>
          </a:xfrm>
          <a:custGeom>
            <a:avLst/>
            <a:gdLst>
              <a:gd name="connsiteX0" fmla="*/ 299102 w 308969"/>
              <a:gd name="connsiteY0" fmla="*/ 0 h 564023"/>
              <a:gd name="connsiteX1" fmla="*/ 299102 w 308969"/>
              <a:gd name="connsiteY1" fmla="*/ 188008 h 564023"/>
              <a:gd name="connsiteX2" fmla="*/ 196553 w 308969"/>
              <a:gd name="connsiteY2" fmla="*/ 470019 h 564023"/>
              <a:gd name="connsiteX3" fmla="*/ 0 w 308969"/>
              <a:gd name="connsiteY3" fmla="*/ 564023 h 564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69" h="564023">
                <a:moveTo>
                  <a:pt x="299102" y="0"/>
                </a:moveTo>
                <a:cubicBezTo>
                  <a:pt x="307647" y="54836"/>
                  <a:pt x="316193" y="109672"/>
                  <a:pt x="299102" y="188008"/>
                </a:cubicBezTo>
                <a:cubicBezTo>
                  <a:pt x="282011" y="266344"/>
                  <a:pt x="246403" y="407350"/>
                  <a:pt x="196553" y="470019"/>
                </a:cubicBezTo>
                <a:cubicBezTo>
                  <a:pt x="146703" y="532688"/>
                  <a:pt x="73351" y="548355"/>
                  <a:pt x="0" y="564023"/>
                </a:cubicBez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Rectangle 32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2215950" y="3724280"/>
            <a:ext cx="330219" cy="246221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Eldoret </a:t>
            </a:r>
          </a:p>
          <a:p>
            <a:pPr defTabSz="828077"/>
            <a:r>
              <a:rPr lang="en-GB" sz="800" b="1" kern="0" dirty="0">
                <a:solidFill>
                  <a:sysClr val="windowText" lastClr="000000"/>
                </a:solidFill>
                <a:cs typeface="Arial" charset="0"/>
              </a:rPr>
              <a:t>POP</a:t>
            </a:r>
          </a:p>
        </p:txBody>
      </p:sp>
      <p:sp>
        <p:nvSpPr>
          <p:cNvPr id="163" name="Freeform 162"/>
          <p:cNvSpPr/>
          <p:nvPr/>
        </p:nvSpPr>
        <p:spPr>
          <a:xfrm>
            <a:off x="2835920" y="4131993"/>
            <a:ext cx="432000" cy="658026"/>
          </a:xfrm>
          <a:custGeom>
            <a:avLst/>
            <a:gdLst>
              <a:gd name="connsiteX0" fmla="*/ 621 w 316816"/>
              <a:gd name="connsiteY0" fmla="*/ 0 h 658026"/>
              <a:gd name="connsiteX1" fmla="*/ 26259 w 316816"/>
              <a:gd name="connsiteY1" fmla="*/ 230737 h 658026"/>
              <a:gd name="connsiteX2" fmla="*/ 171537 w 316816"/>
              <a:gd name="connsiteY2" fmla="*/ 572568 h 658026"/>
              <a:gd name="connsiteX3" fmla="*/ 316816 w 316816"/>
              <a:gd name="connsiteY3" fmla="*/ 658026 h 658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816" h="658026">
                <a:moveTo>
                  <a:pt x="621" y="0"/>
                </a:moveTo>
                <a:cubicBezTo>
                  <a:pt x="-803" y="67654"/>
                  <a:pt x="-2227" y="135309"/>
                  <a:pt x="26259" y="230737"/>
                </a:cubicBezTo>
                <a:cubicBezTo>
                  <a:pt x="54745" y="326165"/>
                  <a:pt x="123111" y="501353"/>
                  <a:pt x="171537" y="572568"/>
                </a:cubicBezTo>
                <a:cubicBezTo>
                  <a:pt x="219963" y="643783"/>
                  <a:pt x="268389" y="650904"/>
                  <a:pt x="316816" y="658026"/>
                </a:cubicBezTo>
              </a:path>
            </a:pathLst>
          </a:custGeom>
          <a:noFill/>
          <a:ln w="25400">
            <a:solidFill>
              <a:srgbClr val="7030A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4" name="Freeform 163"/>
          <p:cNvSpPr/>
          <p:nvPr/>
        </p:nvSpPr>
        <p:spPr>
          <a:xfrm>
            <a:off x="2856287" y="4114902"/>
            <a:ext cx="316194" cy="658026"/>
          </a:xfrm>
          <a:custGeom>
            <a:avLst/>
            <a:gdLst>
              <a:gd name="connsiteX0" fmla="*/ 0 w 316194"/>
              <a:gd name="connsiteY0" fmla="*/ 0 h 658026"/>
              <a:gd name="connsiteX1" fmla="*/ 136732 w 316194"/>
              <a:gd name="connsiteY1" fmla="*/ 145278 h 658026"/>
              <a:gd name="connsiteX2" fmla="*/ 282011 w 316194"/>
              <a:gd name="connsiteY2" fmla="*/ 444381 h 658026"/>
              <a:gd name="connsiteX3" fmla="*/ 316194 w 316194"/>
              <a:gd name="connsiteY3" fmla="*/ 658026 h 658026"/>
              <a:gd name="connsiteX4" fmla="*/ 316194 w 316194"/>
              <a:gd name="connsiteY4" fmla="*/ 658026 h 658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194" h="658026">
                <a:moveTo>
                  <a:pt x="0" y="0"/>
                </a:moveTo>
                <a:cubicBezTo>
                  <a:pt x="44865" y="35607"/>
                  <a:pt x="89730" y="71215"/>
                  <a:pt x="136732" y="145278"/>
                </a:cubicBezTo>
                <a:cubicBezTo>
                  <a:pt x="183734" y="219341"/>
                  <a:pt x="252101" y="358923"/>
                  <a:pt x="282011" y="444381"/>
                </a:cubicBezTo>
                <a:cubicBezTo>
                  <a:pt x="311921" y="529839"/>
                  <a:pt x="316194" y="658026"/>
                  <a:pt x="316194" y="658026"/>
                </a:cubicBezTo>
                <a:lnTo>
                  <a:pt x="316194" y="658026"/>
                </a:ln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5" name="Freeform 164"/>
          <p:cNvSpPr/>
          <p:nvPr/>
        </p:nvSpPr>
        <p:spPr>
          <a:xfrm>
            <a:off x="2565731" y="3901257"/>
            <a:ext cx="598206" cy="888762"/>
          </a:xfrm>
          <a:custGeom>
            <a:avLst/>
            <a:gdLst>
              <a:gd name="connsiteX0" fmla="*/ 0 w 598206"/>
              <a:gd name="connsiteY0" fmla="*/ 0 h 888762"/>
              <a:gd name="connsiteX1" fmla="*/ 94004 w 598206"/>
              <a:gd name="connsiteY1" fmla="*/ 333286 h 888762"/>
              <a:gd name="connsiteX2" fmla="*/ 239282 w 598206"/>
              <a:gd name="connsiteY2" fmla="*/ 581114 h 888762"/>
              <a:gd name="connsiteX3" fmla="*/ 401652 w 598206"/>
              <a:gd name="connsiteY3" fmla="*/ 777667 h 888762"/>
              <a:gd name="connsiteX4" fmla="*/ 598206 w 598206"/>
              <a:gd name="connsiteY4" fmla="*/ 888762 h 88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206" h="888762">
                <a:moveTo>
                  <a:pt x="0" y="0"/>
                </a:moveTo>
                <a:cubicBezTo>
                  <a:pt x="27062" y="118217"/>
                  <a:pt x="54124" y="236434"/>
                  <a:pt x="94004" y="333286"/>
                </a:cubicBezTo>
                <a:cubicBezTo>
                  <a:pt x="133884" y="430138"/>
                  <a:pt x="188007" y="507051"/>
                  <a:pt x="239282" y="581114"/>
                </a:cubicBezTo>
                <a:cubicBezTo>
                  <a:pt x="290557" y="655177"/>
                  <a:pt x="341831" y="726392"/>
                  <a:pt x="401652" y="777667"/>
                </a:cubicBezTo>
                <a:cubicBezTo>
                  <a:pt x="461473" y="828942"/>
                  <a:pt x="529839" y="858852"/>
                  <a:pt x="598206" y="888762"/>
                </a:cubicBez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3155096" y="4757159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67" name="Freeform 166"/>
          <p:cNvSpPr/>
          <p:nvPr/>
        </p:nvSpPr>
        <p:spPr>
          <a:xfrm>
            <a:off x="2599929" y="3867074"/>
            <a:ext cx="607373" cy="897308"/>
          </a:xfrm>
          <a:custGeom>
            <a:avLst/>
            <a:gdLst>
              <a:gd name="connsiteX0" fmla="*/ 0 w 607373"/>
              <a:gd name="connsiteY0" fmla="*/ 0 h 897308"/>
              <a:gd name="connsiteX1" fmla="*/ 230737 w 607373"/>
              <a:gd name="connsiteY1" fmla="*/ 111095 h 897308"/>
              <a:gd name="connsiteX2" fmla="*/ 435836 w 607373"/>
              <a:gd name="connsiteY2" fmla="*/ 316194 h 897308"/>
              <a:gd name="connsiteX3" fmla="*/ 581114 w 607373"/>
              <a:gd name="connsiteY3" fmla="*/ 692209 h 897308"/>
              <a:gd name="connsiteX4" fmla="*/ 606752 w 607373"/>
              <a:gd name="connsiteY4" fmla="*/ 897308 h 897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7373" h="897308">
                <a:moveTo>
                  <a:pt x="0" y="0"/>
                </a:moveTo>
                <a:cubicBezTo>
                  <a:pt x="79049" y="29198"/>
                  <a:pt x="158098" y="58396"/>
                  <a:pt x="230737" y="111095"/>
                </a:cubicBezTo>
                <a:cubicBezTo>
                  <a:pt x="303376" y="163794"/>
                  <a:pt x="377440" y="219342"/>
                  <a:pt x="435836" y="316194"/>
                </a:cubicBezTo>
                <a:cubicBezTo>
                  <a:pt x="494232" y="413046"/>
                  <a:pt x="552628" y="595357"/>
                  <a:pt x="581114" y="692209"/>
                </a:cubicBezTo>
                <a:cubicBezTo>
                  <a:pt x="609600" y="789061"/>
                  <a:pt x="608176" y="843184"/>
                  <a:pt x="606752" y="897308"/>
                </a:cubicBezTo>
              </a:path>
            </a:pathLst>
          </a:custGeom>
          <a:noFill/>
          <a:ln w="25400">
            <a:solidFill>
              <a:srgbClr val="7030A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8" name="Freeform 167"/>
          <p:cNvSpPr/>
          <p:nvPr/>
        </p:nvSpPr>
        <p:spPr>
          <a:xfrm>
            <a:off x="2300812" y="4396929"/>
            <a:ext cx="880217" cy="435835"/>
          </a:xfrm>
          <a:custGeom>
            <a:avLst/>
            <a:gdLst>
              <a:gd name="connsiteX0" fmla="*/ 0 w 880217"/>
              <a:gd name="connsiteY0" fmla="*/ 0 h 435835"/>
              <a:gd name="connsiteX1" fmla="*/ 247829 w 880217"/>
              <a:gd name="connsiteY1" fmla="*/ 85458 h 435835"/>
              <a:gd name="connsiteX2" fmla="*/ 598206 w 880217"/>
              <a:gd name="connsiteY2" fmla="*/ 264919 h 435835"/>
              <a:gd name="connsiteX3" fmla="*/ 880217 w 880217"/>
              <a:gd name="connsiteY3" fmla="*/ 435835 h 435835"/>
              <a:gd name="connsiteX4" fmla="*/ 880217 w 880217"/>
              <a:gd name="connsiteY4" fmla="*/ 435835 h 435835"/>
              <a:gd name="connsiteX5" fmla="*/ 871671 w 880217"/>
              <a:gd name="connsiteY5" fmla="*/ 427289 h 43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0217" h="435835">
                <a:moveTo>
                  <a:pt x="0" y="0"/>
                </a:moveTo>
                <a:cubicBezTo>
                  <a:pt x="74064" y="20652"/>
                  <a:pt x="148128" y="41305"/>
                  <a:pt x="247829" y="85458"/>
                </a:cubicBezTo>
                <a:cubicBezTo>
                  <a:pt x="347530" y="129611"/>
                  <a:pt x="492808" y="206523"/>
                  <a:pt x="598206" y="264919"/>
                </a:cubicBezTo>
                <a:cubicBezTo>
                  <a:pt x="703604" y="323315"/>
                  <a:pt x="880217" y="435835"/>
                  <a:pt x="880217" y="435835"/>
                </a:cubicBezTo>
                <a:lnTo>
                  <a:pt x="880217" y="435835"/>
                </a:lnTo>
                <a:lnTo>
                  <a:pt x="871671" y="427289"/>
                </a:lnTo>
              </a:path>
            </a:pathLst>
          </a:custGeom>
          <a:noFill/>
          <a:ln w="25400">
            <a:solidFill>
              <a:srgbClr val="00B05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69" name="Arc 168"/>
          <p:cNvSpPr/>
          <p:nvPr/>
        </p:nvSpPr>
        <p:spPr>
          <a:xfrm>
            <a:off x="2269442" y="4421778"/>
            <a:ext cx="914400" cy="91440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70" name="Freeform 169"/>
          <p:cNvSpPr/>
          <p:nvPr/>
        </p:nvSpPr>
        <p:spPr>
          <a:xfrm>
            <a:off x="2266627" y="4405459"/>
            <a:ext cx="922946" cy="496040"/>
          </a:xfrm>
          <a:custGeom>
            <a:avLst/>
            <a:gdLst>
              <a:gd name="connsiteX0" fmla="*/ 0 w 922946"/>
              <a:gd name="connsiteY0" fmla="*/ 0 h 496040"/>
              <a:gd name="connsiteX1" fmla="*/ 179462 w 922946"/>
              <a:gd name="connsiteY1" fmla="*/ 256373 h 496040"/>
              <a:gd name="connsiteX2" fmla="*/ 410198 w 922946"/>
              <a:gd name="connsiteY2" fmla="*/ 410198 h 496040"/>
              <a:gd name="connsiteX3" fmla="*/ 743484 w 922946"/>
              <a:gd name="connsiteY3" fmla="*/ 495656 h 496040"/>
              <a:gd name="connsiteX4" fmla="*/ 922946 w 922946"/>
              <a:gd name="connsiteY4" fmla="*/ 435835 h 49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946" h="496040">
                <a:moveTo>
                  <a:pt x="0" y="0"/>
                </a:moveTo>
                <a:cubicBezTo>
                  <a:pt x="55548" y="94003"/>
                  <a:pt x="111096" y="188007"/>
                  <a:pt x="179462" y="256373"/>
                </a:cubicBezTo>
                <a:cubicBezTo>
                  <a:pt x="247828" y="324739"/>
                  <a:pt x="316194" y="370318"/>
                  <a:pt x="410198" y="410198"/>
                </a:cubicBezTo>
                <a:cubicBezTo>
                  <a:pt x="504202" y="450078"/>
                  <a:pt x="658026" y="491383"/>
                  <a:pt x="743484" y="495656"/>
                </a:cubicBezTo>
                <a:cubicBezTo>
                  <a:pt x="828942" y="499929"/>
                  <a:pt x="875944" y="467882"/>
                  <a:pt x="922946" y="435835"/>
                </a:cubicBezTo>
              </a:path>
            </a:pathLst>
          </a:custGeom>
          <a:noFill/>
          <a:ln w="25400">
            <a:solidFill>
              <a:srgbClr val="7030A0"/>
            </a:solidFill>
            <a:round/>
            <a:headEnd/>
            <a:tailEnd/>
          </a:ln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3163642" y="4765521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2" name="Oval 171"/>
          <p:cNvSpPr/>
          <p:nvPr/>
        </p:nvSpPr>
        <p:spPr>
          <a:xfrm>
            <a:off x="2796574" y="4047969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3" name="Oval 172"/>
          <p:cNvSpPr/>
          <p:nvPr/>
        </p:nvSpPr>
        <p:spPr>
          <a:xfrm>
            <a:off x="4180415" y="6134972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3344191" y="4568745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5" name="Oval 174"/>
          <p:cNvSpPr/>
          <p:nvPr/>
        </p:nvSpPr>
        <p:spPr>
          <a:xfrm>
            <a:off x="2514052" y="3834022"/>
            <a:ext cx="86400" cy="9217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6" name="Rectangle 34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3800128" y="5266641"/>
            <a:ext cx="285169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500KM</a:t>
            </a:r>
          </a:p>
        </p:txBody>
      </p:sp>
      <p:sp>
        <p:nvSpPr>
          <p:cNvPr id="177" name="Oval 176"/>
          <p:cNvSpPr/>
          <p:nvPr/>
        </p:nvSpPr>
        <p:spPr>
          <a:xfrm>
            <a:off x="6808616" y="2170297"/>
            <a:ext cx="87840" cy="9073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2807" tIns="41403" rIns="82807" bIns="41403" anchor="ctr"/>
          <a:lstStyle/>
          <a:p>
            <a:pPr algn="ctr" defTabSz="828077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78" name="Rectangle 216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6968464" y="2150408"/>
            <a:ext cx="900269" cy="13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900" kern="0" dirty="0">
                <a:solidFill>
                  <a:sysClr val="windowText" lastClr="000000"/>
                </a:solidFill>
              </a:rPr>
              <a:t>KENET POP</a:t>
            </a:r>
          </a:p>
        </p:txBody>
      </p:sp>
      <p:sp>
        <p:nvSpPr>
          <p:cNvPr id="179" name="Rectangle 34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2431976" y="4364721"/>
            <a:ext cx="285169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400KM</a:t>
            </a:r>
          </a:p>
        </p:txBody>
      </p:sp>
      <p:sp>
        <p:nvSpPr>
          <p:cNvPr id="180" name="Rectangle 34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3152041" y="5419041"/>
            <a:ext cx="243434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500KM</a:t>
            </a:r>
          </a:p>
        </p:txBody>
      </p:sp>
      <p:sp>
        <p:nvSpPr>
          <p:cNvPr id="181" name="Rectangle 34"/>
          <p:cNvSpPr>
            <a:spLocks noChangeArrowheads="1"/>
          </p:cNvSpPr>
          <p:nvPr>
            <p:custDataLst>
              <p:tags r:id="rId128"/>
            </p:custDataLst>
          </p:nvPr>
        </p:nvSpPr>
        <p:spPr bwMode="gray">
          <a:xfrm>
            <a:off x="2503969" y="4860231"/>
            <a:ext cx="243434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400KM</a:t>
            </a:r>
          </a:p>
        </p:txBody>
      </p:sp>
      <p:sp>
        <p:nvSpPr>
          <p:cNvPr id="182" name="Rectangle 34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2359952" y="4109577"/>
            <a:ext cx="243434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350KM</a:t>
            </a:r>
          </a:p>
        </p:txBody>
      </p:sp>
      <p:sp>
        <p:nvSpPr>
          <p:cNvPr id="183" name="Rectangle 34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3700694" y="4402545"/>
            <a:ext cx="243434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350KM</a:t>
            </a:r>
          </a:p>
        </p:txBody>
      </p:sp>
      <p:sp>
        <p:nvSpPr>
          <p:cNvPr id="184" name="Rectangle 34"/>
          <p:cNvSpPr>
            <a:spLocks noChangeArrowheads="1"/>
          </p:cNvSpPr>
          <p:nvPr>
            <p:custDataLst>
              <p:tags r:id="rId131"/>
            </p:custDataLst>
          </p:nvPr>
        </p:nvSpPr>
        <p:spPr bwMode="gray">
          <a:xfrm>
            <a:off x="2836598" y="4402545"/>
            <a:ext cx="243434" cy="769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28077"/>
            <a:r>
              <a:rPr lang="en-GB" sz="500" b="1" kern="0" dirty="0">
                <a:solidFill>
                  <a:srgbClr val="7030A0"/>
                </a:solidFill>
                <a:cs typeface="Arial" charset="0"/>
              </a:rPr>
              <a:t>150KM</a:t>
            </a:r>
          </a:p>
        </p:txBody>
      </p:sp>
      <p:graphicFrame>
        <p:nvGraphicFramePr>
          <p:cNvPr id="185" name="Table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37163709"/>
              </p:ext>
            </p:extLst>
          </p:nvPr>
        </p:nvGraphicFramePr>
        <p:xfrm>
          <a:off x="6248384" y="2542627"/>
          <a:ext cx="2448272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6147"/>
                <a:gridCol w="1122125"/>
              </a:tblGrid>
              <a:tr h="5486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Number of Campuses</a:t>
                      </a:r>
                      <a:r>
                        <a:rPr lang="en-GB" sz="1000" baseline="0" dirty="0" smtClean="0"/>
                        <a:t> </a:t>
                      </a:r>
                      <a:r>
                        <a:rPr lang="en-GB" sz="1000" dirty="0" smtClean="0"/>
                        <a:t>Connected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Nairobi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62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baseline="0" dirty="0" smtClean="0"/>
                        <a:t>Kisumu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5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Mombasa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9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Eldoret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3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Nakuru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0</a:t>
                      </a:r>
                      <a:endParaRPr lang="en-GB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Meru POP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1</a:t>
                      </a:r>
                      <a:endParaRPr lang="en-GB" sz="1000" dirty="0"/>
                    </a:p>
                  </a:txBody>
                  <a:tcPr/>
                </a:tc>
              </a:tr>
              <a:tr h="396240">
                <a:tc>
                  <a:txBody>
                    <a:bodyPr/>
                    <a:lstStyle/>
                    <a:p>
                      <a:r>
                        <a:rPr lang="en-GB" sz="1000" b="1" dirty="0" smtClean="0"/>
                        <a:t>Total Campuses</a:t>
                      </a:r>
                      <a:r>
                        <a:rPr lang="en-GB" sz="1000" b="1" baseline="0" dirty="0" smtClean="0"/>
                        <a:t> </a:t>
                      </a:r>
                      <a:r>
                        <a:rPr lang="en-GB" sz="1000" b="1" dirty="0" smtClean="0"/>
                        <a:t> connected</a:t>
                      </a:r>
                      <a:endParaRPr lang="en-GB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/>
                        <a:t>120</a:t>
                      </a:r>
                      <a:endParaRPr lang="en-GB" sz="1000" b="1" dirty="0"/>
                    </a:p>
                  </a:txBody>
                  <a:tcPr/>
                </a:tc>
              </a:tr>
              <a:tr h="396240">
                <a:tc>
                  <a:txBody>
                    <a:bodyPr/>
                    <a:lstStyle/>
                    <a:p>
                      <a:r>
                        <a:rPr lang="en-GB" sz="1000" b="1" dirty="0" smtClean="0"/>
                        <a:t>Total Student Population</a:t>
                      </a:r>
                      <a:endParaRPr lang="en-GB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/>
                        <a:t>300,000 (approx)</a:t>
                      </a:r>
                      <a:endParaRPr lang="en-GB" sz="10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6" name="Line 211"/>
          <p:cNvSpPr>
            <a:spLocks noChangeShapeType="1"/>
          </p:cNvSpPr>
          <p:nvPr>
            <p:custDataLst>
              <p:tags r:id="rId132"/>
            </p:custDataLst>
          </p:nvPr>
        </p:nvSpPr>
        <p:spPr bwMode="gray">
          <a:xfrm>
            <a:off x="6713584" y="1810257"/>
            <a:ext cx="254880" cy="0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82807" tIns="41403" rIns="82807" bIns="41403" anchor="ctr"/>
          <a:lstStyle/>
          <a:p>
            <a:pPr defTabSz="828077"/>
            <a:endParaRPr lang="en-GB" kern="0" dirty="0">
              <a:solidFill>
                <a:sysClr val="windowText" lastClr="000000"/>
              </a:solidFill>
            </a:endParaRPr>
          </a:p>
        </p:txBody>
      </p:sp>
      <p:sp>
        <p:nvSpPr>
          <p:cNvPr id="187" name="Rectangle 216"/>
          <p:cNvSpPr>
            <a:spLocks noChangeArrowheads="1"/>
          </p:cNvSpPr>
          <p:nvPr>
            <p:custDataLst>
              <p:tags r:id="rId133"/>
            </p:custDataLst>
          </p:nvPr>
        </p:nvSpPr>
        <p:spPr bwMode="gray">
          <a:xfrm>
            <a:off x="7040812" y="1738265"/>
            <a:ext cx="1770602" cy="13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10827">
              <a:buSzPct val="120000"/>
              <a:defRPr/>
            </a:pPr>
            <a:r>
              <a:rPr lang="en-GB" sz="900" kern="0" dirty="0">
                <a:solidFill>
                  <a:sysClr val="windowText" lastClr="000000"/>
                </a:solidFill>
              </a:rPr>
              <a:t>FON dark fiber-underground</a:t>
            </a:r>
          </a:p>
        </p:txBody>
      </p:sp>
      <p:sp>
        <p:nvSpPr>
          <p:cNvPr id="188" name="Oval 187"/>
          <p:cNvSpPr/>
          <p:nvPr/>
        </p:nvSpPr>
        <p:spPr>
          <a:xfrm>
            <a:off x="3728104" y="5358818"/>
            <a:ext cx="1134776" cy="1059967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89" name="Oval 188"/>
          <p:cNvSpPr/>
          <p:nvPr/>
        </p:nvSpPr>
        <p:spPr>
          <a:xfrm>
            <a:off x="2792004" y="4340989"/>
            <a:ext cx="960347" cy="853644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0" name="Oval 189"/>
          <p:cNvSpPr/>
          <p:nvPr/>
        </p:nvSpPr>
        <p:spPr>
          <a:xfrm>
            <a:off x="3296056" y="3538449"/>
            <a:ext cx="960347" cy="853644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2695765" y="3753035"/>
            <a:ext cx="571611" cy="577504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2143944" y="3610457"/>
            <a:ext cx="528299" cy="524548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3" name="Oval 192"/>
          <p:cNvSpPr/>
          <p:nvPr/>
        </p:nvSpPr>
        <p:spPr>
          <a:xfrm>
            <a:off x="1722838" y="4114512"/>
            <a:ext cx="637120" cy="600542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4" name="Oval 193"/>
          <p:cNvSpPr/>
          <p:nvPr/>
        </p:nvSpPr>
        <p:spPr>
          <a:xfrm>
            <a:off x="4592216" y="5501388"/>
            <a:ext cx="132873" cy="12529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5" name="Rectangle 14"/>
          <p:cNvSpPr>
            <a:spLocks noChangeArrowheads="1"/>
          </p:cNvSpPr>
          <p:nvPr>
            <p:custDataLst>
              <p:tags r:id="rId134"/>
            </p:custDataLst>
          </p:nvPr>
        </p:nvSpPr>
        <p:spPr bwMode="gray">
          <a:xfrm>
            <a:off x="4753308" y="5482666"/>
            <a:ext cx="146732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28077">
              <a:defRPr/>
            </a:pPr>
            <a:r>
              <a:rPr lang="en-GB" sz="800" b="1" kern="0" dirty="0">
                <a:solidFill>
                  <a:srgbClr val="C00000"/>
                </a:solidFill>
              </a:rPr>
              <a:t>Italian Space Agency -Luigi Broglio Space Centre- Malindi</a:t>
            </a:r>
          </a:p>
        </p:txBody>
      </p:sp>
      <p:sp>
        <p:nvSpPr>
          <p:cNvPr id="196" name="Oval 195"/>
          <p:cNvSpPr/>
          <p:nvPr/>
        </p:nvSpPr>
        <p:spPr>
          <a:xfrm>
            <a:off x="3671302" y="3169863"/>
            <a:ext cx="132873" cy="12529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43" rIns="91281" bIns="45643" rtlCol="0" anchor="ctr"/>
          <a:lstStyle/>
          <a:p>
            <a:pPr algn="ctr" defTabSz="912885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7" name="Rectangle 14"/>
          <p:cNvSpPr>
            <a:spLocks noChangeArrowheads="1"/>
          </p:cNvSpPr>
          <p:nvPr>
            <p:custDataLst>
              <p:tags r:id="rId135"/>
            </p:custDataLst>
          </p:nvPr>
        </p:nvSpPr>
        <p:spPr bwMode="gray">
          <a:xfrm>
            <a:off x="3292089" y="3039912"/>
            <a:ext cx="4360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8077">
              <a:defRPr/>
            </a:pPr>
            <a:r>
              <a:rPr lang="en-GB" sz="900" b="1" kern="0" dirty="0">
                <a:solidFill>
                  <a:srgbClr val="C00000"/>
                </a:solidFill>
              </a:rPr>
              <a:t>Marsabit</a:t>
            </a:r>
          </a:p>
          <a:p>
            <a:pPr defTabSz="828077">
              <a:defRPr/>
            </a:pPr>
            <a:r>
              <a:rPr lang="en-GB" sz="900" b="1" kern="0" dirty="0">
                <a:solidFill>
                  <a:srgbClr val="C00000"/>
                </a:solidFill>
              </a:rPr>
              <a:t> Project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65zlPSHEa5abPGw6.J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EzXj15iEmEabypm9h1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RNkTW9pUuRU5PQOGvg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4cSCLckWXW7HSmKcbJ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2WYnmsbUK_FFcC2IMX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J6wdxikqbuOfh9pjV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0P3bT5tEO8I4Lnrw5u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v0PQyTsUexNbarvf9H.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BD9Ysy20OwLshOsKXG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m8DGJeSUSi1TMmJFXrI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ZBjFvRd0qS5hxCOd8l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86iI.BBUSXP97zshGK8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jgliP5s0qleSV0vAIh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NXkfvfKk23rX8p_Rdo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CPLcbZkycKrmAnnFV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yzGBwLWkK7.Rxaq67X3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i1ALku0m5y7aUEzQw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6EBevxU.3GT13wdCZK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UICQfNUSsEr4fSpcPm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suUgqoukO0qCSv0SOK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kTQfC_keAInwS6Zi3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TnCehnWUG9gmHj4w_H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Imsrs6eE.QcgRTddQt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OrOFkjDkqEY83TOuVN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S1PqImD0KR696SvTBL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.K0_JnGU6Oy2WU9ED9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YCaXBf5ky35gisQ0xU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Hgib.ikCpstpm812B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HGiFQ87UWeyXqcbr.r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ApLFDsrkeNyalPi6S.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x3ZOcx0UqTrf.B.VHJ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XNSZv3pke0BUTr_yCf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9oDjI4Ua2i9zoF4.8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Yf2uWrU02vy10IAzRT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hcgdJuXkGpUCkZyhLe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msVHijhUSgBn1SIzuh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6iSFaBU0uGuwFBgw.J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JNhzb8P0WwFmj9V7yE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eGeXTe1UaQrN4BnxNv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IptQrpb0ahY4qKb5uO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3EOLZQDUa8.ZhNUY5S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sq0.d6ek6eewQVfHrG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ZKNimmjkuMf5.Sj4R8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l2.XXp_0CFfmX8_4Ns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vns_R8g0m1DxdYzTVu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ZptEtyJ06Co2J_ITKp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cR9wUiLEmvByQlTKTW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BNQkBOs0ejZ16uiQgm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Fn4YkykUKkgYBwg5v1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SHXcE5hEaUprUjynf9_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p43wZ3BEaJylofv899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Rni2.9u0uDalZY7BUm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cBNkWPk0uMyTZHLk8o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pmWKNp0KhKJVzt4Hx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ZiBlwGw0SeTxbnYZqn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2SI5z64kCtDaSpqVs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H3K3CgUyTJafOEFuqm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TjSbnWy0aHmJ5CrEnD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7oU2ebR0mWJp07qrB_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8Uh9WHvEmeiMW87ksk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ZJKjMbhECSAU69ro3J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UDwO0WwkWjRSXu10R8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vrm4kXY0a9ZsSPtn8Z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ZsNZqPnUqVp8NCmSQv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A6dRbU5EC26RutbuTB6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ngli3BEWYecDlWyKX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Oo5hXTw0q3t6ZkxeS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aVVhcV6ECyDJF5oZrF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0mEth0NUaplvLw07MJJ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vgvqSyEmUw7aHGT_k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iCXfyE0SxaqS_isLp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hcmz1oqUSILdb_VKZp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A5usaCh0OPmtTh5RQ7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xkw1pHOUabUklaIudQ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d.FLY3F0a6.KAsFObq0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zKKZ5Z00.k0B6WE85s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KhlWoulE.ZuZ6tBnnW.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1VBfbuH0KxY_jxOidv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dF6uCvbkGR2mkovfQ_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nmXkvy0e5SDSxgXng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xxxiFX0yd1r4I9vyO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bGV4BO0E6tOcCN2X63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oxc_cvwkm8Nb_U0Ckb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7XzG8kHEu56xiPclk.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7MBU75DEuy_H.Ug2z_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RsVq_JESkvnkcxZiA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gaZhi840Wdqpa0.ngy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JbJ._3MUO.3Qcv2yPT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w0TKcDU0iwitcP.EsZ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t7f3swtEiv8Hv0Zd5Z2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CmeGgBukiN1qIac2rm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X7H7RS06k6SP1kJdK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QjgixnSkOaB_YqPTwp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3teb3c0.F6fvFXZm1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zrijXIXEWcV.vvgZ2_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u_7ESK2E26M1X29Y9B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ix8M5tFUyqigjSRdoh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3Nx0QWs06Ji0t.yRyH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EbCrYSEUOCpiTl2lZN_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IigHLNsEir97KOExwu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zABKT_nEGW2MDV3hRI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04hOBINEGw732Bb5j3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HNWiqRREKmBeIuE.Piw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aYcSSxtkm_pLkeuA_ut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p4qs9ij0Sa5ZRiAEPt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SfW4tfZkyVGDgbmaQE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i1teODB0KdiP88nCu5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MvYJRCkO5lU31RS.y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AcBk1UEUW4ZnRSflNum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nJVACJ02R35gkQb2vi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C_.gYtJECkUlZpixe6rw"/>
</p:tagLst>
</file>

<file path=ppt/theme/theme1.xml><?xml version="1.0" encoding="utf-8"?>
<a:theme xmlns:a="http://schemas.openxmlformats.org/drawingml/2006/main">
  <a:themeElements>
    <a:clrScheme name="Custom 430">
      <a:dk1>
        <a:srgbClr val="3B3B3B"/>
      </a:dk1>
      <a:lt1>
        <a:srgbClr val="FFFFFF"/>
      </a:lt1>
      <a:dk2>
        <a:srgbClr val="3369FC"/>
      </a:dk2>
      <a:lt2>
        <a:srgbClr val="CCCCCC"/>
      </a:lt2>
      <a:accent1>
        <a:srgbClr val="0056FB"/>
      </a:accent1>
      <a:accent2>
        <a:srgbClr val="F50017"/>
      </a:accent2>
      <a:accent3>
        <a:srgbClr val="FF8608"/>
      </a:accent3>
      <a:accent4>
        <a:srgbClr val="069924"/>
      </a:accent4>
      <a:accent5>
        <a:srgbClr val="60B4F6"/>
      </a:accent5>
      <a:accent6>
        <a:srgbClr val="F0C631"/>
      </a:accent6>
      <a:hlink>
        <a:srgbClr val="0056FB"/>
      </a:hlink>
      <a:folHlink>
        <a:srgbClr val="41424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sales_template_July_2010">
      <a:dk1>
        <a:srgbClr val="3C3C3C"/>
      </a:dk1>
      <a:lt1>
        <a:srgbClr val="FFFFFF"/>
      </a:lt1>
      <a:dk2>
        <a:srgbClr val="AAAAAA"/>
      </a:dk2>
      <a:lt2>
        <a:srgbClr val="7D7D7D"/>
      </a:lt2>
      <a:accent1>
        <a:srgbClr val="3369E8"/>
      </a:accent1>
      <a:accent2>
        <a:srgbClr val="EEB211"/>
      </a:accent2>
      <a:accent3>
        <a:srgbClr val="009925"/>
      </a:accent3>
      <a:accent4>
        <a:srgbClr val="D50F25"/>
      </a:accent4>
      <a:accent5>
        <a:srgbClr val="389CED"/>
      </a:accent5>
      <a:accent6>
        <a:srgbClr val="98E036"/>
      </a:accent6>
      <a:hlink>
        <a:srgbClr val="3369E8"/>
      </a:hlink>
      <a:folHlink>
        <a:srgbClr val="3369E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2</TotalTime>
  <Words>1070</Words>
  <Application>Microsoft Office PowerPoint</Application>
  <PresentationFormat>On-screen Show (4:3)</PresentationFormat>
  <Paragraphs>307</Paragraphs>
  <Slides>20</Slides>
  <Notes>16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/>
      <vt:lpstr/>
      <vt:lpstr>Research and Education Network In Africa     – The KENET Story </vt:lpstr>
      <vt:lpstr>Is a Leading Tourist Destination? </vt:lpstr>
      <vt:lpstr>Contents</vt:lpstr>
      <vt:lpstr>KENET Background</vt:lpstr>
      <vt:lpstr>Governance</vt:lpstr>
      <vt:lpstr>KENET Member Categories - 78</vt:lpstr>
      <vt:lpstr>KENET Spheres Of Influence</vt:lpstr>
      <vt:lpstr>Local &amp; International Connectivity</vt:lpstr>
      <vt:lpstr>KENET Rapid Growth in Connected Campuses (Serving more than 300,000 students)</vt:lpstr>
      <vt:lpstr>Bandwidth Distribution Network</vt:lpstr>
      <vt:lpstr>Price per Mb/s at Member Institution the Key Competitive Advantage</vt:lpstr>
      <vt:lpstr>Services To Members</vt:lpstr>
      <vt:lpstr>Services To Members Contd..</vt:lpstr>
      <vt:lpstr>Community Growth Vice Chancellors’ Forum (Annual)</vt:lpstr>
      <vt:lpstr>System Administrator’s Training </vt:lpstr>
      <vt:lpstr>Partnerships – Helping Hands!</vt:lpstr>
      <vt:lpstr>Key Achievements So Far</vt:lpstr>
      <vt:lpstr>FUTURE PLANS</vt:lpstr>
      <vt:lpstr>Traffic Patterns – AfricaConnect</vt:lpstr>
      <vt:lpstr>Slide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Josphat</dc:creator>
  <cp:lastModifiedBy>kaseda</cp:lastModifiedBy>
  <cp:revision>72</cp:revision>
  <dcterms:modified xsi:type="dcterms:W3CDTF">2013-04-18T15:15:44Z</dcterms:modified>
</cp:coreProperties>
</file>